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notesSlides/notesSlide23.xml" ContentType="application/vnd.openxmlformats-officedocument.presentationml.notesSlide+xml"/>
  <Override PartName="/ppt/tags/tag9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8.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29.xml" ContentType="application/vnd.openxmlformats-officedocument.presentationml.notesSlide+xml"/>
  <Override PartName="/ppt/tags/tag123.xml" ContentType="application/vnd.openxmlformats-officedocument.presentationml.tags+xml"/>
  <Override PartName="/ppt/notesSlides/notesSlide30.xml" ContentType="application/vnd.openxmlformats-officedocument.presentationml.notesSlide+xml"/>
  <Override PartName="/ppt/tags/tag124.xml" ContentType="application/vnd.openxmlformats-officedocument.presentationml.tags+xml"/>
  <Override PartName="/ppt/notesSlides/notesSlide3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33.xml" ContentType="application/vnd.openxmlformats-officedocument.presentationml.notesSlide+xml"/>
  <Override PartName="/ppt/tags/tag14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5"/>
  </p:sldMasterIdLst>
  <p:notesMasterIdLst>
    <p:notesMasterId r:id="rId51"/>
  </p:notesMasterIdLst>
  <p:handoutMasterIdLst>
    <p:handoutMasterId r:id="rId52"/>
  </p:handoutMasterIdLst>
  <p:sldIdLst>
    <p:sldId id="276" r:id="rId16"/>
    <p:sldId id="277" r:id="rId17"/>
    <p:sldId id="1404" r:id="rId18"/>
    <p:sldId id="1405" r:id="rId19"/>
    <p:sldId id="374" r:id="rId20"/>
    <p:sldId id="376" r:id="rId21"/>
    <p:sldId id="1377" r:id="rId22"/>
    <p:sldId id="1378" r:id="rId23"/>
    <p:sldId id="1379" r:id="rId24"/>
    <p:sldId id="1380" r:id="rId25"/>
    <p:sldId id="1406" r:id="rId26"/>
    <p:sldId id="1376" r:id="rId27"/>
    <p:sldId id="1387" r:id="rId28"/>
    <p:sldId id="1411" r:id="rId29"/>
    <p:sldId id="1389" r:id="rId30"/>
    <p:sldId id="1390" r:id="rId31"/>
    <p:sldId id="1391" r:id="rId32"/>
    <p:sldId id="1393" r:id="rId33"/>
    <p:sldId id="1394" r:id="rId34"/>
    <p:sldId id="1395" r:id="rId35"/>
    <p:sldId id="1396" r:id="rId36"/>
    <p:sldId id="1397" r:id="rId37"/>
    <p:sldId id="1398" r:id="rId38"/>
    <p:sldId id="1399" r:id="rId39"/>
    <p:sldId id="1400" r:id="rId40"/>
    <p:sldId id="1401" r:id="rId41"/>
    <p:sldId id="1402" r:id="rId42"/>
    <p:sldId id="1403" r:id="rId43"/>
    <p:sldId id="1407" r:id="rId44"/>
    <p:sldId id="1385" r:id="rId45"/>
    <p:sldId id="1386" r:id="rId46"/>
    <p:sldId id="373" r:id="rId47"/>
    <p:sldId id="1408" r:id="rId48"/>
    <p:sldId id="1409" r:id="rId49"/>
    <p:sldId id="1410" r:id="rId50"/>
  </p:sldIdLst>
  <p:sldSz cx="9144000" cy="5143500" type="screen16x9"/>
  <p:notesSz cx="6858000" cy="9144000"/>
  <p:custDataLst>
    <p:tags r:id="rId53"/>
  </p:custDataLst>
  <p:defaultTextStyle>
    <a:defPPr>
      <a:defRPr lang="en-US"/>
    </a:defPPr>
    <a:lvl1pPr marL="0" indent="0" algn="l" defTabSz="685800" rtl="0" eaLnBrk="1" latinLnBrk="0" hangingPunct="1">
      <a:lnSpc>
        <a:spcPct val="100000"/>
      </a:lnSpc>
      <a:spcBef>
        <a:spcPts val="300"/>
      </a:spcBef>
      <a:buFontTx/>
      <a:buNone/>
      <a:defRPr sz="1400" kern="1200">
        <a:solidFill>
          <a:schemeClr val="tx2"/>
        </a:solidFill>
        <a:latin typeface="+mn-lt"/>
        <a:ea typeface="+mn-ea"/>
        <a:cs typeface="+mn-cs"/>
      </a:defRPr>
    </a:lvl1pPr>
    <a:lvl2pPr marL="169200" indent="-180000" algn="l" defTabSz="685800" rtl="0" eaLnBrk="1" latinLnBrk="0" hangingPunct="1">
      <a:lnSpc>
        <a:spcPct val="100000"/>
      </a:lnSpc>
      <a:spcBef>
        <a:spcPts val="432"/>
      </a:spcBef>
      <a:buClr>
        <a:schemeClr val="tx2"/>
      </a:buClr>
      <a:buFont typeface="Arial" panose="020B0604020202020204" pitchFamily="34" charset="0"/>
      <a:buChar char="•"/>
      <a:defRPr sz="1400" kern="1200">
        <a:solidFill>
          <a:schemeClr val="tx2"/>
        </a:solidFill>
        <a:latin typeface="+mn-lt"/>
        <a:ea typeface="+mn-ea"/>
        <a:cs typeface="+mn-cs"/>
      </a:defRPr>
    </a:lvl2pPr>
    <a:lvl3pPr marL="360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3pPr>
    <a:lvl4pPr marL="684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4pPr>
    <a:lvl5pPr marL="972000" indent="-180000" algn="l" defTabSz="685800" rtl="0" eaLnBrk="1" latinLnBrk="0" hangingPunct="1">
      <a:lnSpc>
        <a:spcPct val="100000"/>
      </a:lnSpc>
      <a:spcBef>
        <a:spcPts val="300"/>
      </a:spcBef>
      <a:buClr>
        <a:schemeClr val="tx2"/>
      </a:buClr>
      <a:buFont typeface="Arial" panose="020B0604020202020204" pitchFamily="34" charset="0"/>
      <a:buChar char="–"/>
      <a:defRPr sz="1000" kern="1200">
        <a:solidFill>
          <a:schemeClr val="tx2"/>
        </a:solidFill>
        <a:latin typeface="+mn-lt"/>
        <a:ea typeface="+mn-ea"/>
        <a:cs typeface="+mn-cs"/>
      </a:defRPr>
    </a:lvl5pPr>
    <a:lvl6pPr marL="1714500" algn="l" defTabSz="685800" rtl="0" eaLnBrk="1" latinLnBrk="0" hangingPunct="1">
      <a:defRPr sz="1350" kern="1200">
        <a:solidFill>
          <a:schemeClr val="tx2"/>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B3DDFAC-2542-473B-A1C0-FAA42454D0B6}">
          <p14:sldIdLst>
            <p14:sldId id="276"/>
            <p14:sldId id="277"/>
            <p14:sldId id="1404"/>
          </p14:sldIdLst>
        </p14:section>
        <p14:section name="webMethods API Gateway Staging Solution Overview" id="{18C99867-28B7-45A7-B7A4-CF19A2F5AE95}">
          <p14:sldIdLst>
            <p14:sldId id="1405"/>
            <p14:sldId id="374"/>
            <p14:sldId id="376"/>
            <p14:sldId id="1377"/>
            <p14:sldId id="1378"/>
            <p14:sldId id="1379"/>
            <p14:sldId id="1380"/>
          </p14:sldIdLst>
        </p14:section>
        <p14:section name="Implementation and Configuration" id="{78EFC29D-8240-41D2-8785-356C4CAF4835}">
          <p14:sldIdLst>
            <p14:sldId id="1406"/>
            <p14:sldId id="1376"/>
            <p14:sldId id="1387"/>
            <p14:sldId id="1411"/>
            <p14:sldId id="1389"/>
            <p14:sldId id="1390"/>
            <p14:sldId id="1391"/>
            <p14:sldId id="1393"/>
            <p14:sldId id="1394"/>
            <p14:sldId id="1395"/>
            <p14:sldId id="1396"/>
            <p14:sldId id="1397"/>
            <p14:sldId id="1398"/>
            <p14:sldId id="1399"/>
            <p14:sldId id="1400"/>
            <p14:sldId id="1401"/>
            <p14:sldId id="1402"/>
            <p14:sldId id="1403"/>
          </p14:sldIdLst>
        </p14:section>
        <p14:section name="Alternative Approaches" id="{FF1C732F-A26F-4019-91B4-D2FB2F997112}">
          <p14:sldIdLst>
            <p14:sldId id="1407"/>
            <p14:sldId id="1385"/>
            <p14:sldId id="1386"/>
            <p14:sldId id="373"/>
          </p14:sldIdLst>
        </p14:section>
        <p14:section name="References" id="{45AD9A7F-64AB-489B-9B46-F01213B660FE}">
          <p14:sldIdLst>
            <p14:sldId id="1408"/>
            <p14:sldId id="1409"/>
            <p14:sldId id="14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DCFE"/>
    <a:srgbClr val="9A50F8"/>
    <a:srgbClr val="1C5569"/>
    <a:srgbClr val="3CC1B7"/>
    <a:srgbClr val="7B7C80"/>
    <a:srgbClr val="D9EC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B830A9-0123-4835-A836-7B72F5B1B7D9}" v="2693" dt="2024-06-06T07:40:46.288"/>
  </p1510:revLst>
</p1510:revInfo>
</file>

<file path=ppt/tableStyles.xml><?xml version="1.0" encoding="utf-8"?>
<a:tblStyleLst xmlns:a="http://schemas.openxmlformats.org/drawingml/2006/main" def="{A16AEE43-F4D6-4E29-BE72-89A31115956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rgbClr val="82A2AD"/>
          </a:solidFill>
        </a:fill>
      </a:tcStyle>
    </a:lastCol>
    <a:firstCol>
      <a:tcTxStyle b="on">
        <a:fontRef idx="minor">
          <a:prstClr val="black"/>
        </a:fontRef>
        <a:schemeClr val="lt1"/>
      </a:tcTxStyle>
      <a:tcStyle>
        <a:tcBdr/>
        <a:fill>
          <a:solidFill>
            <a:srgbClr val="82A2AD"/>
          </a:solidFill>
        </a:fill>
      </a:tcStyle>
    </a:firstCol>
    <a:lastRow>
      <a:tcTxStyle b="on">
        <a:fontRef idx="minor">
          <a:prstClr val="black"/>
        </a:fontRef>
        <a:schemeClr val="lt1"/>
      </a:tcTxStyle>
      <a:tcStyle>
        <a:tcBdr>
          <a:top>
            <a:ln w="38100" cmpd="sng">
              <a:solidFill>
                <a:schemeClr val="lt1"/>
              </a:solidFill>
            </a:ln>
          </a:top>
        </a:tcBdr>
        <a:fill>
          <a:solidFill>
            <a:srgbClr val="82A2AD"/>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16AEE43-F4D6-4E29-BE72-89A311159569}" styleName="Software AG Standard">
    <a:wholeTbl>
      <a:tcTxStyle>
        <a:fontRef idx="minor">
          <a:prstClr val="black"/>
        </a:fontRef>
        <a:schemeClr val="dk2"/>
      </a:tcTxStyle>
      <a:tcStyle>
        <a:tcBdr>
          <a:left>
            <a:ln w="0" cmpd="sng">
              <a:solidFill>
                <a:schemeClr val="lt2"/>
              </a:solidFill>
            </a:ln>
          </a:left>
          <a:right>
            <a:ln w="0" cmpd="sng">
              <a:solidFill>
                <a:schemeClr val="lt2"/>
              </a:solidFill>
            </a:ln>
          </a:right>
          <a:top>
            <a:ln w="0" cmpd="sng">
              <a:solidFill>
                <a:schemeClr val="lt2"/>
              </a:solidFill>
            </a:ln>
          </a:top>
          <a:bottom>
            <a:ln w="0" cmpd="sng">
              <a:solidFill>
                <a:schemeClr val="lt2"/>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lt2"/>
      </a:tcTxStyle>
      <a:tcStyle>
        <a:tcBdr/>
        <a:fill>
          <a:solidFill>
            <a:srgbClr val="82A2AD"/>
          </a:solidFill>
        </a:fill>
      </a:tcStyle>
    </a:lastCol>
    <a:firstCol>
      <a:tcTxStyle b="on">
        <a:fontRef idx="minor">
          <a:prstClr val="black"/>
        </a:fontRef>
        <a:schemeClr val="lt2"/>
      </a:tcTxStyle>
      <a:tcStyle>
        <a:tcBdr/>
        <a:fill>
          <a:solidFill>
            <a:srgbClr val="82A2AD"/>
          </a:solidFill>
        </a:fill>
      </a:tcStyle>
    </a:firstCol>
    <a:lastRow>
      <a:tcTxStyle b="on">
        <a:fontRef idx="minor">
          <a:prstClr val="black"/>
        </a:fontRef>
        <a:schemeClr val="lt2"/>
      </a:tcTxStyle>
      <a:tcStyle>
        <a:tcBdr>
          <a:top>
            <a:ln w="12700" cmpd="sng">
              <a:solidFill>
                <a:schemeClr val="lt1"/>
              </a:solidFill>
            </a:ln>
          </a:top>
        </a:tcBdr>
        <a:fill>
          <a:solidFill>
            <a:srgbClr val="82A2AD"/>
          </a:solidFill>
        </a:fill>
      </a:tcStyle>
    </a:lastRow>
    <a:firstRow>
      <a:tcTxStyle b="on">
        <a:fontRef idx="minor">
          <a:prstClr val="black"/>
        </a:fontRef>
        <a:schemeClr val="lt2"/>
      </a:tcTxStyle>
      <a:tcStyle>
        <a:tcBdr>
          <a:bottom>
            <a:ln w="0" cmpd="sng">
              <a:solidFill>
                <a:schemeClr val="lt1"/>
              </a:solidFill>
            </a:ln>
          </a:bottom>
        </a:tcBdr>
        <a:fill>
          <a:solidFill>
            <a:schemeClr val="dk2"/>
          </a:solidFill>
        </a:fill>
      </a:tcStyle>
    </a:firstRow>
  </a:tblStyle>
  <a:tblStyle styleId="{E2FD084D-617F-4632-A001-82C3342337EF}" styleName="Software AG Standard Bright pulse">
    <a:wholeTbl>
      <a:tcTxStyle>
        <a:fontRef idx="minor">
          <a:prstClr val="black"/>
        </a:fontRef>
        <a:schemeClr val="dk2"/>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lt2"/>
      </a:tcTxStyle>
      <a:tcStyle>
        <a:tcBdr/>
        <a:fill>
          <a:solidFill>
            <a:srgbClr val="C89FFB"/>
          </a:solidFill>
        </a:fill>
      </a:tcStyle>
    </a:lastCol>
    <a:firstCol>
      <a:tcTxStyle b="on">
        <a:fontRef idx="minor">
          <a:prstClr val="black"/>
        </a:fontRef>
        <a:schemeClr val="lt2"/>
      </a:tcTxStyle>
      <a:tcStyle>
        <a:tcBdr/>
        <a:fill>
          <a:solidFill>
            <a:srgbClr val="C89FFB"/>
          </a:solidFill>
        </a:fill>
      </a:tcStyle>
    </a:firstCol>
    <a:lastRow>
      <a:tcTxStyle b="on">
        <a:fontRef idx="minor">
          <a:prstClr val="black"/>
        </a:fontRef>
        <a:schemeClr val="lt2"/>
      </a:tcTxStyle>
      <a:tcStyle>
        <a:tcBdr>
          <a:top>
            <a:ln w="12700" cmpd="sng">
              <a:solidFill>
                <a:schemeClr val="lt1"/>
              </a:solidFill>
            </a:ln>
          </a:top>
        </a:tcBdr>
        <a:fill>
          <a:solidFill>
            <a:srgbClr val="C89FFB"/>
          </a:solidFill>
        </a:fill>
      </a:tcStyle>
    </a:lastRow>
    <a:firstRow>
      <a:tcTxStyle b="on">
        <a:fontRef idx="minor">
          <a:prstClr val="black"/>
        </a:fontRef>
        <a:schemeClr val="lt2"/>
      </a:tcTxStyle>
      <a:tcStyle>
        <a:tcBdr>
          <a:bottom>
            <a:ln w="0" cmpd="sng">
              <a:solidFill>
                <a:schemeClr val="lt1"/>
              </a:solidFill>
            </a:ln>
          </a:bottom>
        </a:tcBdr>
        <a:fill>
          <a:solidFill>
            <a:schemeClr val="accent1"/>
          </a:solidFill>
        </a:fill>
      </a:tcStyle>
    </a:firstRow>
  </a:tblStyle>
  <a:tblStyle styleId="{1D1D5107-2099-4B57-A3EB-CEFF1DB81227}" styleName="Software AG Standard Bright sense">
    <a:wholeTbl>
      <a:tcTxStyle>
        <a:fontRef idx="minor">
          <a:prstClr val="black"/>
        </a:fontRef>
        <a:schemeClr val="dk2"/>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dk2"/>
      </a:tcTxStyle>
      <a:tcStyle>
        <a:tcBdr/>
        <a:fill>
          <a:solidFill>
            <a:srgbClr val="94DDD7"/>
          </a:solidFill>
        </a:fill>
      </a:tcStyle>
    </a:lastCol>
    <a:firstCol>
      <a:tcTxStyle b="on">
        <a:fontRef idx="minor">
          <a:prstClr val="black"/>
        </a:fontRef>
        <a:schemeClr val="dk2"/>
      </a:tcTxStyle>
      <a:tcStyle>
        <a:tcBdr/>
        <a:fill>
          <a:solidFill>
            <a:srgbClr val="94DDD7"/>
          </a:solidFill>
        </a:fill>
      </a:tcStyle>
    </a:firstCol>
    <a:lastRow>
      <a:tcTxStyle b="on">
        <a:fontRef idx="minor">
          <a:prstClr val="black"/>
        </a:fontRef>
        <a:schemeClr val="dk2"/>
      </a:tcTxStyle>
      <a:tcStyle>
        <a:tcBdr>
          <a:top>
            <a:ln w="12700" cmpd="sng">
              <a:solidFill>
                <a:schemeClr val="lt1"/>
              </a:solidFill>
            </a:ln>
          </a:top>
        </a:tcBdr>
        <a:fill>
          <a:solidFill>
            <a:srgbClr val="94DDD7"/>
          </a:solidFill>
        </a:fill>
      </a:tcStyle>
    </a:lastRow>
    <a:firstRow>
      <a:tcTxStyle b="on">
        <a:fontRef idx="minor">
          <a:prstClr val="black"/>
        </a:fontRef>
        <a:schemeClr val="dk2"/>
      </a:tcTxStyle>
      <a:tcStyle>
        <a:tcBdr>
          <a:bottom>
            <a:ln w="0" cmpd="sng">
              <a:solidFill>
                <a:schemeClr val="lt1"/>
              </a:solidFill>
            </a:ln>
          </a:bottom>
        </a:tcBdr>
        <a:fill>
          <a:solidFill>
            <a:schemeClr val="accent2"/>
          </a:solidFill>
        </a:fill>
      </a:tcStyle>
    </a:firstRow>
  </a:tblStyle>
  <a:tblStyle styleId="{0EF20EA8-D2BB-4C41-9F59-0B0C2306DBB8}" styleName="Software AG Standard Bright life">
    <a:wholeTbl>
      <a:tcTxStyle>
        <a:fontRef idx="minor">
          <a:prstClr val="black"/>
        </a:fontRef>
        <a:schemeClr val="dk2"/>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dk2"/>
      </a:tcTxStyle>
      <a:tcStyle>
        <a:tcBdr/>
        <a:fill>
          <a:solidFill>
            <a:srgbClr val="EAF588"/>
          </a:solidFill>
        </a:fill>
      </a:tcStyle>
    </a:lastCol>
    <a:firstCol>
      <a:tcTxStyle b="on">
        <a:fontRef idx="minor">
          <a:prstClr val="black"/>
        </a:fontRef>
        <a:schemeClr val="dk2"/>
      </a:tcTxStyle>
      <a:tcStyle>
        <a:tcBdr/>
        <a:fill>
          <a:solidFill>
            <a:srgbClr val="EAF588"/>
          </a:solidFill>
        </a:fill>
      </a:tcStyle>
    </a:firstCol>
    <a:lastRow>
      <a:tcTxStyle b="on">
        <a:fontRef idx="minor">
          <a:prstClr val="black"/>
        </a:fontRef>
        <a:schemeClr val="dk2"/>
      </a:tcTxStyle>
      <a:tcStyle>
        <a:tcBdr>
          <a:top>
            <a:ln w="12700" cmpd="sng">
              <a:solidFill>
                <a:schemeClr val="lt1"/>
              </a:solidFill>
            </a:ln>
          </a:top>
        </a:tcBdr>
        <a:fill>
          <a:solidFill>
            <a:srgbClr val="EAF588"/>
          </a:solidFill>
        </a:fill>
      </a:tcStyle>
    </a:lastRow>
    <a:firstRow>
      <a:tcTxStyle b="on">
        <a:fontRef idx="minor">
          <a:prstClr val="black"/>
        </a:fontRef>
        <a:schemeClr val="dk2"/>
      </a:tcTxStyle>
      <a:tcStyle>
        <a:tcBdr>
          <a:bottom>
            <a:ln w="0" cmpd="sng">
              <a:solidFill>
                <a:schemeClr val="lt1"/>
              </a:solidFill>
            </a:ln>
          </a:bottom>
        </a:tcBdr>
        <a:fill>
          <a:solidFill>
            <a:schemeClr val="accent3"/>
          </a:solidFill>
        </a:fill>
      </a:tcStyle>
    </a:firstRow>
  </a:tblStyle>
  <a:tblStyle styleId="{524EBB96-9029-484D-9E7E-1666E709D619}" styleName="Software AG Standard Deep pulse">
    <a:wholeTbl>
      <a:tcTxStyle>
        <a:fontRef idx="minor">
          <a:prstClr val="black"/>
        </a:fontRef>
        <a:schemeClr val="dk2"/>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lt2"/>
      </a:tcTxStyle>
      <a:tcStyle>
        <a:tcBdr/>
        <a:fill>
          <a:solidFill>
            <a:schemeClr val="accent4"/>
          </a:solidFill>
        </a:fill>
      </a:tcStyle>
    </a:lastCol>
    <a:firstCol>
      <a:tcTxStyle b="on">
        <a:fontRef idx="minor">
          <a:prstClr val="black"/>
        </a:fontRef>
        <a:schemeClr val="lt2"/>
      </a:tcTxStyle>
      <a:tcStyle>
        <a:tcBdr/>
        <a:fill>
          <a:solidFill>
            <a:schemeClr val="accent4"/>
          </a:solidFill>
        </a:fill>
      </a:tcStyle>
    </a:firstCol>
    <a:lastRow>
      <a:tcTxStyle b="on">
        <a:fontRef idx="minor">
          <a:prstClr val="black"/>
        </a:fontRef>
        <a:schemeClr val="lt2"/>
      </a:tcTxStyle>
      <a:tcStyle>
        <a:tcBdr>
          <a:top>
            <a:ln w="12700" cmpd="sng">
              <a:solidFill>
                <a:schemeClr val="lt1"/>
              </a:solidFill>
            </a:ln>
          </a:top>
        </a:tcBdr>
        <a:fill>
          <a:solidFill>
            <a:schemeClr val="accent4"/>
          </a:solidFill>
        </a:fill>
      </a:tcStyle>
    </a:lastRow>
    <a:firstRow>
      <a:tcTxStyle b="on">
        <a:fontRef idx="minor">
          <a:prstClr val="black"/>
        </a:fontRef>
        <a:schemeClr val="lt2"/>
      </a:tcTxStyle>
      <a:tcStyle>
        <a:tcBdr>
          <a:bottom>
            <a:ln w="0" cmpd="sng">
              <a:solidFill>
                <a:schemeClr val="lt2"/>
              </a:solidFill>
            </a:ln>
          </a:bottom>
        </a:tcBdr>
        <a:fill>
          <a:solidFill>
            <a:schemeClr val="accent4"/>
          </a:solidFill>
        </a:fill>
      </a:tcStyle>
    </a:firstRow>
  </a:tblStyle>
  <a:tblStyle styleId="{E28594DD-534D-4114-8277-25E7630CE91A}" styleName="Software AG Standard sense">
    <a:wholeTbl>
      <a:tcTxStyle>
        <a:fontRef idx="minor">
          <a:prstClr val="black"/>
        </a:fontRef>
        <a:schemeClr val="dk2"/>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lt1"/>
              </a:solidFill>
            </a:ln>
          </a:insideH>
          <a:insideV>
            <a:ln w="12700" cmpd="sng">
              <a:solidFill>
                <a:schemeClr val="lt1"/>
              </a:solidFill>
            </a:ln>
          </a:insideV>
        </a:tcBdr>
        <a:fill>
          <a:solidFill>
            <a:schemeClr val="lt2"/>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lt2"/>
      </a:tcTxStyle>
      <a:tcStyle>
        <a:tcBdr/>
        <a:fill>
          <a:solidFill>
            <a:schemeClr val="accent5"/>
          </a:solidFill>
        </a:fill>
      </a:tcStyle>
    </a:lastCol>
    <a:firstCol>
      <a:tcTxStyle b="on">
        <a:fontRef idx="minor">
          <a:prstClr val="black"/>
        </a:fontRef>
        <a:schemeClr val="lt2"/>
      </a:tcTxStyle>
      <a:tcStyle>
        <a:tcBdr/>
        <a:fill>
          <a:solidFill>
            <a:schemeClr val="accent5"/>
          </a:solidFill>
        </a:fill>
      </a:tcStyle>
    </a:firstCol>
    <a:lastRow>
      <a:tcTxStyle b="on">
        <a:fontRef idx="minor">
          <a:prstClr val="black"/>
        </a:fontRef>
        <a:schemeClr val="lt2"/>
      </a:tcTxStyle>
      <a:tcStyle>
        <a:tcBdr>
          <a:top>
            <a:ln w="12700" cmpd="sng">
              <a:solidFill>
                <a:schemeClr val="lt1"/>
              </a:solidFill>
            </a:ln>
          </a:top>
        </a:tcBdr>
        <a:fill>
          <a:solidFill>
            <a:schemeClr val="accent5"/>
          </a:solidFill>
        </a:fill>
      </a:tcStyle>
    </a:lastRow>
    <a:firstRow>
      <a:tcTxStyle b="on">
        <a:fontRef idx="minor">
          <a:prstClr val="black"/>
        </a:fontRef>
        <a:schemeClr val="lt2"/>
      </a:tcTxStyle>
      <a:tcStyle>
        <a:tcBdr>
          <a:bottom>
            <a:ln w="12700" cmpd="sng">
              <a:solidFill>
                <a:schemeClr val="lt1"/>
              </a:solidFill>
            </a:ln>
          </a:bottom>
        </a:tcBdr>
        <a:fill>
          <a:solidFill>
            <a:schemeClr val="accent5"/>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napToObjects="1" showGuides="1">
      <p:cViewPr varScale="1">
        <p:scale>
          <a:sx n="194" d="100"/>
          <a:sy n="194" d="100"/>
        </p:scale>
        <p:origin x="156" y="270"/>
      </p:cViewPr>
      <p:guideLst/>
    </p:cSldViewPr>
  </p:slideViewPr>
  <p:notesTextViewPr>
    <p:cViewPr>
      <p:scale>
        <a:sx n="1" d="1"/>
        <a:sy n="1" d="1"/>
      </p:scale>
      <p:origin x="0" y="0"/>
    </p:cViewPr>
  </p:notesTextViewPr>
  <p:notesViewPr>
    <p:cSldViewPr snapToGrid="0" snapToObjects="1" showGuides="1">
      <p:cViewPr varScale="1">
        <p:scale>
          <a:sx n="51" d="100"/>
          <a:sy n="51" d="100"/>
        </p:scale>
        <p:origin x="2160"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customXml" Target="../customXml/item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customXml" Target="../customXml/item5.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microsoft.com/office/2015/10/relationships/revisionInfo" Target="revisionInfo.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sse, Thomas Dr." userId="661ed4e0-7782-4a1c-9bc8-dd191b47db53" providerId="ADAL" clId="{ECEC1DAD-872C-4AE4-93B1-14CD65D425A7}"/>
    <pc:docChg chg="undo redo custSel addSld delSld modSld modMainMaster">
      <pc:chgData name="Hesse, Thomas Dr." userId="661ed4e0-7782-4a1c-9bc8-dd191b47db53" providerId="ADAL" clId="{ECEC1DAD-872C-4AE4-93B1-14CD65D425A7}" dt="2023-06-08T07:45:25.869" v="1388" actId="20577"/>
      <pc:docMkLst>
        <pc:docMk/>
      </pc:docMkLst>
      <pc:sldChg chg="modSp mod">
        <pc:chgData name="Hesse, Thomas Dr." userId="661ed4e0-7782-4a1c-9bc8-dd191b47db53" providerId="ADAL" clId="{ECEC1DAD-872C-4AE4-93B1-14CD65D425A7}" dt="2023-06-08T06:02:41.717" v="260" actId="313"/>
        <pc:sldMkLst>
          <pc:docMk/>
          <pc:sldMk cId="815650229" sldId="275"/>
        </pc:sldMkLst>
        <pc:spChg chg="mod">
          <ac:chgData name="Hesse, Thomas Dr." userId="661ed4e0-7782-4a1c-9bc8-dd191b47db53" providerId="ADAL" clId="{ECEC1DAD-872C-4AE4-93B1-14CD65D425A7}" dt="2023-06-08T06:02:41.717" v="260" actId="313"/>
          <ac:spMkLst>
            <pc:docMk/>
            <pc:sldMk cId="815650229" sldId="275"/>
            <ac:spMk id="2" creationId="{850E30F2-687B-486B-87B1-96F560D70384}"/>
          </ac:spMkLst>
        </pc:spChg>
      </pc:sldChg>
      <pc:sldChg chg="modSp mod">
        <pc:chgData name="Hesse, Thomas Dr." userId="661ed4e0-7782-4a1c-9bc8-dd191b47db53" providerId="ADAL" clId="{ECEC1DAD-872C-4AE4-93B1-14CD65D425A7}" dt="2023-06-08T06:02:55.492" v="290" actId="313"/>
        <pc:sldMkLst>
          <pc:docMk/>
          <pc:sldMk cId="4451349" sldId="276"/>
        </pc:sldMkLst>
        <pc:spChg chg="mod">
          <ac:chgData name="Hesse, Thomas Dr." userId="661ed4e0-7782-4a1c-9bc8-dd191b47db53" providerId="ADAL" clId="{ECEC1DAD-872C-4AE4-93B1-14CD65D425A7}" dt="2023-06-08T06:02:55.492" v="290" actId="313"/>
          <ac:spMkLst>
            <pc:docMk/>
            <pc:sldMk cId="4451349" sldId="276"/>
            <ac:spMk id="6" creationId="{F9A04536-FD64-472F-9847-B298D615A9A2}"/>
          </ac:spMkLst>
        </pc:spChg>
        <pc:spChg chg="mod">
          <ac:chgData name="Hesse, Thomas Dr." userId="661ed4e0-7782-4a1c-9bc8-dd191b47db53" providerId="ADAL" clId="{ECEC1DAD-872C-4AE4-93B1-14CD65D425A7}" dt="2023-06-06T10:35:04.144" v="238" actId="20577"/>
          <ac:spMkLst>
            <pc:docMk/>
            <pc:sldMk cId="4451349" sldId="276"/>
            <ac:spMk id="9" creationId="{BB892D79-A5D8-43B4-9472-9A251F332F61}"/>
          </ac:spMkLst>
        </pc:spChg>
      </pc:sldChg>
      <pc:sldChg chg="modSp mod">
        <pc:chgData name="Hesse, Thomas Dr." userId="661ed4e0-7782-4a1c-9bc8-dd191b47db53" providerId="ADAL" clId="{ECEC1DAD-872C-4AE4-93B1-14CD65D425A7}" dt="2023-06-08T07:45:25.869" v="1388" actId="20577"/>
        <pc:sldMkLst>
          <pc:docMk/>
          <pc:sldMk cId="427152657" sldId="277"/>
        </pc:sldMkLst>
        <pc:spChg chg="mod">
          <ac:chgData name="Hesse, Thomas Dr." userId="661ed4e0-7782-4a1c-9bc8-dd191b47db53" providerId="ADAL" clId="{ECEC1DAD-872C-4AE4-93B1-14CD65D425A7}" dt="2023-06-08T06:02:56.346" v="292" actId="313"/>
          <ac:spMkLst>
            <pc:docMk/>
            <pc:sldMk cId="427152657" sldId="277"/>
            <ac:spMk id="2" creationId="{5D202B89-1DDE-4E0B-BDDF-D2C3D3554F60}"/>
          </ac:spMkLst>
        </pc:spChg>
        <pc:graphicFrameChg chg="modGraphic">
          <ac:chgData name="Hesse, Thomas Dr." userId="661ed4e0-7782-4a1c-9bc8-dd191b47db53" providerId="ADAL" clId="{ECEC1DAD-872C-4AE4-93B1-14CD65D425A7}" dt="2023-06-08T07:45:25.869" v="1388" actId="20577"/>
          <ac:graphicFrameMkLst>
            <pc:docMk/>
            <pc:sldMk cId="427152657" sldId="277"/>
            <ac:graphicFrameMk id="22" creationId="{58B20F86-20C2-485E-9B39-401AF0CDB0B0}"/>
          </ac:graphicFrameMkLst>
        </pc:graphicFrameChg>
      </pc:sldChg>
      <pc:sldChg chg="modSp mod">
        <pc:chgData name="Hesse, Thomas Dr." userId="661ed4e0-7782-4a1c-9bc8-dd191b47db53" providerId="ADAL" clId="{ECEC1DAD-872C-4AE4-93B1-14CD65D425A7}" dt="2023-06-08T06:03:01.184" v="295" actId="313"/>
        <pc:sldMkLst>
          <pc:docMk/>
          <pc:sldMk cId="480131662" sldId="369"/>
        </pc:sldMkLst>
        <pc:spChg chg="mod">
          <ac:chgData name="Hesse, Thomas Dr." userId="661ed4e0-7782-4a1c-9bc8-dd191b47db53" providerId="ADAL" clId="{ECEC1DAD-872C-4AE4-93B1-14CD65D425A7}" dt="2023-06-08T06:03:01.184" v="295" actId="313"/>
          <ac:spMkLst>
            <pc:docMk/>
            <pc:sldMk cId="480131662" sldId="369"/>
            <ac:spMk id="2" creationId="{28C4EDF1-C76E-4518-A966-C9ADAA263DBE}"/>
          </ac:spMkLst>
        </pc:spChg>
      </pc:sldChg>
      <pc:sldChg chg="modSp mod">
        <pc:chgData name="Hesse, Thomas Dr." userId="661ed4e0-7782-4a1c-9bc8-dd191b47db53" providerId="ADAL" clId="{ECEC1DAD-872C-4AE4-93B1-14CD65D425A7}" dt="2023-06-08T06:02:32.514" v="239" actId="313"/>
        <pc:sldMkLst>
          <pc:docMk/>
          <pc:sldMk cId="3611637881" sldId="370"/>
        </pc:sldMkLst>
        <pc:spChg chg="mod">
          <ac:chgData name="Hesse, Thomas Dr." userId="661ed4e0-7782-4a1c-9bc8-dd191b47db53" providerId="ADAL" clId="{ECEC1DAD-872C-4AE4-93B1-14CD65D425A7}" dt="2023-06-08T06:02:32.514" v="239" actId="313"/>
          <ac:spMkLst>
            <pc:docMk/>
            <pc:sldMk cId="3611637881" sldId="370"/>
            <ac:spMk id="2" creationId="{F1C85E08-53A0-452B-808A-ED0F0795B925}"/>
          </ac:spMkLst>
        </pc:spChg>
      </pc:sldChg>
      <pc:sldChg chg="modSp mod modAnim">
        <pc:chgData name="Hesse, Thomas Dr." userId="661ed4e0-7782-4a1c-9bc8-dd191b47db53" providerId="ADAL" clId="{ECEC1DAD-872C-4AE4-93B1-14CD65D425A7}" dt="2023-06-08T06:37:38.345" v="623" actId="167"/>
        <pc:sldMkLst>
          <pc:docMk/>
          <pc:sldMk cId="208071715" sldId="373"/>
        </pc:sldMkLst>
        <pc:spChg chg="mod">
          <ac:chgData name="Hesse, Thomas Dr." userId="661ed4e0-7782-4a1c-9bc8-dd191b47db53" providerId="ADAL" clId="{ECEC1DAD-872C-4AE4-93B1-14CD65D425A7}" dt="2023-06-08T06:02:33.657" v="241" actId="313"/>
          <ac:spMkLst>
            <pc:docMk/>
            <pc:sldMk cId="208071715" sldId="373"/>
            <ac:spMk id="2" creationId="{1F86711E-92FA-44F4-9894-A93966ED6117}"/>
          </ac:spMkLst>
        </pc:spChg>
        <pc:spChg chg="ord">
          <ac:chgData name="Hesse, Thomas Dr." userId="661ed4e0-7782-4a1c-9bc8-dd191b47db53" providerId="ADAL" clId="{ECEC1DAD-872C-4AE4-93B1-14CD65D425A7}" dt="2023-06-08T06:37:38.345" v="623" actId="167"/>
          <ac:spMkLst>
            <pc:docMk/>
            <pc:sldMk cId="208071715" sldId="373"/>
            <ac:spMk id="12" creationId="{8F604366-F711-44D9-B195-8B950CE00996}"/>
          </ac:spMkLst>
        </pc:spChg>
      </pc:sldChg>
      <pc:sldChg chg="modSp mod">
        <pc:chgData name="Hesse, Thomas Dr." userId="661ed4e0-7782-4a1c-9bc8-dd191b47db53" providerId="ADAL" clId="{ECEC1DAD-872C-4AE4-93B1-14CD65D425A7}" dt="2023-06-08T06:02:34.575" v="243" actId="313"/>
        <pc:sldMkLst>
          <pc:docMk/>
          <pc:sldMk cId="2921766681" sldId="374"/>
        </pc:sldMkLst>
        <pc:spChg chg="mod">
          <ac:chgData name="Hesse, Thomas Dr." userId="661ed4e0-7782-4a1c-9bc8-dd191b47db53" providerId="ADAL" clId="{ECEC1DAD-872C-4AE4-93B1-14CD65D425A7}" dt="2023-06-08T06:02:34.575" v="243" actId="313"/>
          <ac:spMkLst>
            <pc:docMk/>
            <pc:sldMk cId="2921766681" sldId="374"/>
            <ac:spMk id="2" creationId="{5480DB41-A291-4FA3-905F-F311585DB63C}"/>
          </ac:spMkLst>
        </pc:spChg>
      </pc:sldChg>
      <pc:sldChg chg="modSp mod">
        <pc:chgData name="Hesse, Thomas Dr." userId="661ed4e0-7782-4a1c-9bc8-dd191b47db53" providerId="ADAL" clId="{ECEC1DAD-872C-4AE4-93B1-14CD65D425A7}" dt="2023-06-08T06:02:34.965" v="244" actId="313"/>
        <pc:sldMkLst>
          <pc:docMk/>
          <pc:sldMk cId="2130145112" sldId="376"/>
        </pc:sldMkLst>
        <pc:spChg chg="mod">
          <ac:chgData name="Hesse, Thomas Dr." userId="661ed4e0-7782-4a1c-9bc8-dd191b47db53" providerId="ADAL" clId="{ECEC1DAD-872C-4AE4-93B1-14CD65D425A7}" dt="2023-06-08T06:02:34.965" v="244" actId="313"/>
          <ac:spMkLst>
            <pc:docMk/>
            <pc:sldMk cId="2130145112" sldId="376"/>
            <ac:spMk id="2" creationId="{1192598F-891C-49EF-942D-23A8650216D3}"/>
          </ac:spMkLst>
        </pc:spChg>
        <pc:spChg chg="mod">
          <ac:chgData name="Hesse, Thomas Dr." userId="661ed4e0-7782-4a1c-9bc8-dd191b47db53" providerId="ADAL" clId="{ECEC1DAD-872C-4AE4-93B1-14CD65D425A7}" dt="2023-06-06T10:33:50.617" v="165" actId="20577"/>
          <ac:spMkLst>
            <pc:docMk/>
            <pc:sldMk cId="2130145112" sldId="376"/>
            <ac:spMk id="13" creationId="{E66C30B6-240E-4BF7-B8F6-E6D4ACCB97A0}"/>
          </ac:spMkLst>
        </pc:spChg>
      </pc:sldChg>
      <pc:sldChg chg="modSp mod">
        <pc:chgData name="Hesse, Thomas Dr." userId="661ed4e0-7782-4a1c-9bc8-dd191b47db53" providerId="ADAL" clId="{ECEC1DAD-872C-4AE4-93B1-14CD65D425A7}" dt="2023-06-08T06:02:43.052" v="262" actId="27636"/>
        <pc:sldMkLst>
          <pc:docMk/>
          <pc:sldMk cId="1820870863" sldId="383"/>
        </pc:sldMkLst>
        <pc:spChg chg="mod">
          <ac:chgData name="Hesse, Thomas Dr." userId="661ed4e0-7782-4a1c-9bc8-dd191b47db53" providerId="ADAL" clId="{ECEC1DAD-872C-4AE4-93B1-14CD65D425A7}" dt="2023-06-08T06:02:41.092" v="259" actId="313"/>
          <ac:spMkLst>
            <pc:docMk/>
            <pc:sldMk cId="1820870863" sldId="383"/>
            <ac:spMk id="2" creationId="{E8541734-66F1-401B-A8DA-17101AD020BE}"/>
          </ac:spMkLst>
        </pc:spChg>
        <pc:spChg chg="mod">
          <ac:chgData name="Hesse, Thomas Dr." userId="661ed4e0-7782-4a1c-9bc8-dd191b47db53" providerId="ADAL" clId="{ECEC1DAD-872C-4AE4-93B1-14CD65D425A7}" dt="2023-06-08T06:02:43.052" v="262" actId="27636"/>
          <ac:spMkLst>
            <pc:docMk/>
            <pc:sldMk cId="1820870863" sldId="383"/>
            <ac:spMk id="5" creationId="{767DEA81-4437-4CA1-A5EF-9456F03826EB}"/>
          </ac:spMkLst>
        </pc:spChg>
      </pc:sldChg>
      <pc:sldChg chg="modSp mod">
        <pc:chgData name="Hesse, Thomas Dr." userId="661ed4e0-7782-4a1c-9bc8-dd191b47db53" providerId="ADAL" clId="{ECEC1DAD-872C-4AE4-93B1-14CD65D425A7}" dt="2023-06-08T06:03:47.409" v="299" actId="20577"/>
        <pc:sldMkLst>
          <pc:docMk/>
          <pc:sldMk cId="2902325613" sldId="1347"/>
        </pc:sldMkLst>
        <pc:spChg chg="mod">
          <ac:chgData name="Hesse, Thomas Dr." userId="661ed4e0-7782-4a1c-9bc8-dd191b47db53" providerId="ADAL" clId="{ECEC1DAD-872C-4AE4-93B1-14CD65D425A7}" dt="2023-06-08T06:03:47.409" v="299" actId="20577"/>
          <ac:spMkLst>
            <pc:docMk/>
            <pc:sldMk cId="2902325613" sldId="1347"/>
            <ac:spMk id="2" creationId="{71F08706-7D98-464A-BAAB-397FDEDEBCCE}"/>
          </ac:spMkLst>
        </pc:spChg>
        <pc:spChg chg="mod">
          <ac:chgData name="Hesse, Thomas Dr." userId="661ed4e0-7782-4a1c-9bc8-dd191b47db53" providerId="ADAL" clId="{ECEC1DAD-872C-4AE4-93B1-14CD65D425A7}" dt="2023-06-08T06:03:00.119" v="293" actId="313"/>
          <ac:spMkLst>
            <pc:docMk/>
            <pc:sldMk cId="2902325613" sldId="1347"/>
            <ac:spMk id="29" creationId="{C744A6A9-D51C-4054-A97D-5A893C696755}"/>
          </ac:spMkLst>
        </pc:spChg>
      </pc:sldChg>
      <pc:sldChg chg="modSp mod">
        <pc:chgData name="Hesse, Thomas Dr." userId="661ed4e0-7782-4a1c-9bc8-dd191b47db53" providerId="ADAL" clId="{ECEC1DAD-872C-4AE4-93B1-14CD65D425A7}" dt="2023-06-08T06:03:58.951" v="300" actId="313"/>
        <pc:sldMkLst>
          <pc:docMk/>
          <pc:sldMk cId="2854857620" sldId="1348"/>
        </pc:sldMkLst>
        <pc:spChg chg="mod">
          <ac:chgData name="Hesse, Thomas Dr." userId="661ed4e0-7782-4a1c-9bc8-dd191b47db53" providerId="ADAL" clId="{ECEC1DAD-872C-4AE4-93B1-14CD65D425A7}" dt="2023-06-08T06:03:58.951" v="300" actId="313"/>
          <ac:spMkLst>
            <pc:docMk/>
            <pc:sldMk cId="2854857620" sldId="1348"/>
            <ac:spMk id="2" creationId="{71F08706-7D98-464A-BAAB-397FDEDEBCCE}"/>
          </ac:spMkLst>
        </pc:spChg>
        <pc:spChg chg="mod">
          <ac:chgData name="Hesse, Thomas Dr." userId="661ed4e0-7782-4a1c-9bc8-dd191b47db53" providerId="ADAL" clId="{ECEC1DAD-872C-4AE4-93B1-14CD65D425A7}" dt="2023-06-08T06:03:00.682" v="294" actId="313"/>
          <ac:spMkLst>
            <pc:docMk/>
            <pc:sldMk cId="2854857620" sldId="1348"/>
            <ac:spMk id="6" creationId="{AFE35C37-BAE1-4146-9A71-3B8A0CD169F1}"/>
          </ac:spMkLst>
        </pc:spChg>
      </pc:sldChg>
      <pc:sldChg chg="modSp mod">
        <pc:chgData name="Hesse, Thomas Dr." userId="661ed4e0-7782-4a1c-9bc8-dd191b47db53" providerId="ADAL" clId="{ECEC1DAD-872C-4AE4-93B1-14CD65D425A7}" dt="2023-06-08T06:03:41.815" v="298" actId="6549"/>
        <pc:sldMkLst>
          <pc:docMk/>
          <pc:sldMk cId="4018740351" sldId="1349"/>
        </pc:sldMkLst>
        <pc:spChg chg="mod">
          <ac:chgData name="Hesse, Thomas Dr." userId="661ed4e0-7782-4a1c-9bc8-dd191b47db53" providerId="ADAL" clId="{ECEC1DAD-872C-4AE4-93B1-14CD65D425A7}" dt="2023-06-08T06:03:41.815" v="298" actId="6549"/>
          <ac:spMkLst>
            <pc:docMk/>
            <pc:sldMk cId="4018740351" sldId="1349"/>
            <ac:spMk id="2" creationId="{71F08706-7D98-464A-BAAB-397FDEDEBCCE}"/>
          </ac:spMkLst>
        </pc:spChg>
        <pc:spChg chg="mod">
          <ac:chgData name="Hesse, Thomas Dr." userId="661ed4e0-7782-4a1c-9bc8-dd191b47db53" providerId="ADAL" clId="{ECEC1DAD-872C-4AE4-93B1-14CD65D425A7}" dt="2023-06-08T06:02:33.131" v="240" actId="313"/>
          <ac:spMkLst>
            <pc:docMk/>
            <pc:sldMk cId="4018740351" sldId="1349"/>
            <ac:spMk id="13" creationId="{A9313F38-26DC-4FCC-9B84-364F672D5C4A}"/>
          </ac:spMkLst>
        </pc:spChg>
      </pc:sldChg>
      <pc:sldChg chg="modSp mod">
        <pc:chgData name="Hesse, Thomas Dr." userId="661ed4e0-7782-4a1c-9bc8-dd191b47db53" providerId="ADAL" clId="{ECEC1DAD-872C-4AE4-93B1-14CD65D425A7}" dt="2023-06-08T06:04:00.034" v="301" actId="313"/>
        <pc:sldMkLst>
          <pc:docMk/>
          <pc:sldMk cId="1935632513" sldId="1350"/>
        </pc:sldMkLst>
        <pc:spChg chg="mod">
          <ac:chgData name="Hesse, Thomas Dr." userId="661ed4e0-7782-4a1c-9bc8-dd191b47db53" providerId="ADAL" clId="{ECEC1DAD-872C-4AE4-93B1-14CD65D425A7}" dt="2023-06-08T06:04:00.034" v="301" actId="313"/>
          <ac:spMkLst>
            <pc:docMk/>
            <pc:sldMk cId="1935632513" sldId="1350"/>
            <ac:spMk id="2" creationId="{71F08706-7D98-464A-BAAB-397FDEDEBCCE}"/>
          </ac:spMkLst>
        </pc:spChg>
        <pc:spChg chg="mod">
          <ac:chgData name="Hesse, Thomas Dr." userId="661ed4e0-7782-4a1c-9bc8-dd191b47db53" providerId="ADAL" clId="{ECEC1DAD-872C-4AE4-93B1-14CD65D425A7}" dt="2023-06-08T06:02:34.116" v="242" actId="313"/>
          <ac:spMkLst>
            <pc:docMk/>
            <pc:sldMk cId="1935632513" sldId="1350"/>
            <ac:spMk id="20" creationId="{E5BB0422-E5EC-4FA7-A00C-0753C4CD4FBD}"/>
          </ac:spMkLst>
        </pc:spChg>
      </pc:sldChg>
      <pc:sldChg chg="addSp delSp modSp mod">
        <pc:chgData name="Hesse, Thomas Dr." userId="661ed4e0-7782-4a1c-9bc8-dd191b47db53" providerId="ADAL" clId="{ECEC1DAD-872C-4AE4-93B1-14CD65D425A7}" dt="2023-06-08T07:11:28.220" v="974" actId="478"/>
        <pc:sldMkLst>
          <pc:docMk/>
          <pc:sldMk cId="390142402" sldId="1352"/>
        </pc:sldMkLst>
        <pc:spChg chg="mod">
          <ac:chgData name="Hesse, Thomas Dr." userId="661ed4e0-7782-4a1c-9bc8-dd191b47db53" providerId="ADAL" clId="{ECEC1DAD-872C-4AE4-93B1-14CD65D425A7}" dt="2023-06-08T06:02:35.474" v="245" actId="313"/>
          <ac:spMkLst>
            <pc:docMk/>
            <pc:sldMk cId="390142402" sldId="1352"/>
            <ac:spMk id="2" creationId="{CF40BF5C-03B7-465A-97C6-DD3B9D4DBEC7}"/>
          </ac:spMkLst>
        </pc:spChg>
        <pc:spChg chg="add mod">
          <ac:chgData name="Hesse, Thomas Dr." userId="661ed4e0-7782-4a1c-9bc8-dd191b47db53" providerId="ADAL" clId="{ECEC1DAD-872C-4AE4-93B1-14CD65D425A7}" dt="2023-06-08T06:24:15.576" v="509" actId="20577"/>
          <ac:spMkLst>
            <pc:docMk/>
            <pc:sldMk cId="390142402" sldId="1352"/>
            <ac:spMk id="3" creationId="{4DC771F0-88C5-9148-6C2F-30F6F01C0848}"/>
          </ac:spMkLst>
        </pc:spChg>
        <pc:spChg chg="add mod">
          <ac:chgData name="Hesse, Thomas Dr." userId="661ed4e0-7782-4a1c-9bc8-dd191b47db53" providerId="ADAL" clId="{ECEC1DAD-872C-4AE4-93B1-14CD65D425A7}" dt="2023-06-08T06:22:50.621" v="492" actId="1076"/>
          <ac:spMkLst>
            <pc:docMk/>
            <pc:sldMk cId="390142402" sldId="1352"/>
            <ac:spMk id="6" creationId="{E30E50DB-9E8F-001B-C8D8-CCE1E4D6A29C}"/>
          </ac:spMkLst>
        </pc:spChg>
        <pc:spChg chg="mod">
          <ac:chgData name="Hesse, Thomas Dr." userId="661ed4e0-7782-4a1c-9bc8-dd191b47db53" providerId="ADAL" clId="{ECEC1DAD-872C-4AE4-93B1-14CD65D425A7}" dt="2023-06-08T06:18:06.596" v="399" actId="1036"/>
          <ac:spMkLst>
            <pc:docMk/>
            <pc:sldMk cId="390142402" sldId="1352"/>
            <ac:spMk id="14" creationId="{7DEC11E1-015A-4DAF-9977-92E96E7D4B84}"/>
          </ac:spMkLst>
        </pc:spChg>
        <pc:spChg chg="mod">
          <ac:chgData name="Hesse, Thomas Dr." userId="661ed4e0-7782-4a1c-9bc8-dd191b47db53" providerId="ADAL" clId="{ECEC1DAD-872C-4AE4-93B1-14CD65D425A7}" dt="2023-06-08T06:22:41.045" v="491" actId="1076"/>
          <ac:spMkLst>
            <pc:docMk/>
            <pc:sldMk cId="390142402" sldId="1352"/>
            <ac:spMk id="15" creationId="{FFA048F0-3F48-4719-8C00-8A9C019C386F}"/>
          </ac:spMkLst>
        </pc:spChg>
        <pc:spChg chg="mod">
          <ac:chgData name="Hesse, Thomas Dr." userId="661ed4e0-7782-4a1c-9bc8-dd191b47db53" providerId="ADAL" clId="{ECEC1DAD-872C-4AE4-93B1-14CD65D425A7}" dt="2023-06-08T06:23:01.429" v="494" actId="1076"/>
          <ac:spMkLst>
            <pc:docMk/>
            <pc:sldMk cId="390142402" sldId="1352"/>
            <ac:spMk id="16" creationId="{49E13429-6C50-4AF5-B747-895F949444BC}"/>
          </ac:spMkLst>
        </pc:spChg>
        <pc:spChg chg="del mod">
          <ac:chgData name="Hesse, Thomas Dr." userId="661ed4e0-7782-4a1c-9bc8-dd191b47db53" providerId="ADAL" clId="{ECEC1DAD-872C-4AE4-93B1-14CD65D425A7}" dt="2023-06-08T07:11:28.220" v="974" actId="478"/>
          <ac:spMkLst>
            <pc:docMk/>
            <pc:sldMk cId="390142402" sldId="1352"/>
            <ac:spMk id="17" creationId="{C39D7025-5A8C-4CD6-A64E-8128C4669114}"/>
          </ac:spMkLst>
        </pc:spChg>
        <pc:picChg chg="add mod">
          <ac:chgData name="Hesse, Thomas Dr." userId="661ed4e0-7782-4a1c-9bc8-dd191b47db53" providerId="ADAL" clId="{ECEC1DAD-872C-4AE4-93B1-14CD65D425A7}" dt="2023-06-08T06:23:45.205" v="497" actId="1076"/>
          <ac:picMkLst>
            <pc:docMk/>
            <pc:sldMk cId="390142402" sldId="1352"/>
            <ac:picMk id="5" creationId="{A1C9AF54-9496-C023-CA78-8DCD25D413B4}"/>
          </ac:picMkLst>
        </pc:picChg>
        <pc:picChg chg="add mod">
          <ac:chgData name="Hesse, Thomas Dr." userId="661ed4e0-7782-4a1c-9bc8-dd191b47db53" providerId="ADAL" clId="{ECEC1DAD-872C-4AE4-93B1-14CD65D425A7}" dt="2023-06-08T06:21:46.983" v="485" actId="1076"/>
          <ac:picMkLst>
            <pc:docMk/>
            <pc:sldMk cId="390142402" sldId="1352"/>
            <ac:picMk id="7" creationId="{0ECB1D91-1E23-02D6-2938-53023E2E7955}"/>
          </ac:picMkLst>
        </pc:picChg>
        <pc:picChg chg="mod">
          <ac:chgData name="Hesse, Thomas Dr." userId="661ed4e0-7782-4a1c-9bc8-dd191b47db53" providerId="ADAL" clId="{ECEC1DAD-872C-4AE4-93B1-14CD65D425A7}" dt="2023-06-08T06:18:06.596" v="399" actId="1036"/>
          <ac:picMkLst>
            <pc:docMk/>
            <pc:sldMk cId="390142402" sldId="1352"/>
            <ac:picMk id="19" creationId="{646ED198-B7FE-4FCB-A7C8-D15F7595A170}"/>
          </ac:picMkLst>
        </pc:picChg>
        <pc:picChg chg="del mod">
          <ac:chgData name="Hesse, Thomas Dr." userId="661ed4e0-7782-4a1c-9bc8-dd191b47db53" providerId="ADAL" clId="{ECEC1DAD-872C-4AE4-93B1-14CD65D425A7}" dt="2023-06-08T06:28:14.101" v="510" actId="21"/>
          <ac:picMkLst>
            <pc:docMk/>
            <pc:sldMk cId="390142402" sldId="1352"/>
            <ac:picMk id="21" creationId="{E6A865F6-2552-4E74-9B27-3336285D8217}"/>
          </ac:picMkLst>
        </pc:picChg>
        <pc:picChg chg="mod">
          <ac:chgData name="Hesse, Thomas Dr." userId="661ed4e0-7782-4a1c-9bc8-dd191b47db53" providerId="ADAL" clId="{ECEC1DAD-872C-4AE4-93B1-14CD65D425A7}" dt="2023-06-08T06:20:37.236" v="448" actId="1076"/>
          <ac:picMkLst>
            <pc:docMk/>
            <pc:sldMk cId="390142402" sldId="1352"/>
            <ac:picMk id="23" creationId="{4FBD0800-76CA-44C6-9413-AA2084F17CCF}"/>
          </ac:picMkLst>
        </pc:picChg>
        <pc:picChg chg="mod">
          <ac:chgData name="Hesse, Thomas Dr." userId="661ed4e0-7782-4a1c-9bc8-dd191b47db53" providerId="ADAL" clId="{ECEC1DAD-872C-4AE4-93B1-14CD65D425A7}" dt="2023-06-08T06:18:06.596" v="399" actId="1036"/>
          <ac:picMkLst>
            <pc:docMk/>
            <pc:sldMk cId="390142402" sldId="1352"/>
            <ac:picMk id="25" creationId="{40B9391E-EB3B-42F7-A150-1CC6512ABC8B}"/>
          </ac:picMkLst>
        </pc:picChg>
      </pc:sldChg>
      <pc:sldChg chg="modSp mod">
        <pc:chgData name="Hesse, Thomas Dr." userId="661ed4e0-7782-4a1c-9bc8-dd191b47db53" providerId="ADAL" clId="{ECEC1DAD-872C-4AE4-93B1-14CD65D425A7}" dt="2023-06-08T06:02:36.705" v="248" actId="313"/>
        <pc:sldMkLst>
          <pc:docMk/>
          <pc:sldMk cId="3450477748" sldId="1353"/>
        </pc:sldMkLst>
        <pc:spChg chg="mod">
          <ac:chgData name="Hesse, Thomas Dr." userId="661ed4e0-7782-4a1c-9bc8-dd191b47db53" providerId="ADAL" clId="{ECEC1DAD-872C-4AE4-93B1-14CD65D425A7}" dt="2023-06-08T06:02:36.705" v="248" actId="313"/>
          <ac:spMkLst>
            <pc:docMk/>
            <pc:sldMk cId="3450477748" sldId="1353"/>
            <ac:spMk id="2" creationId="{0EDE9242-CB79-48A6-BE7E-F66A59144C6B}"/>
          </ac:spMkLst>
        </pc:spChg>
      </pc:sldChg>
      <pc:sldChg chg="modSp mod">
        <pc:chgData name="Hesse, Thomas Dr." userId="661ed4e0-7782-4a1c-9bc8-dd191b47db53" providerId="ADAL" clId="{ECEC1DAD-872C-4AE4-93B1-14CD65D425A7}" dt="2023-06-08T06:02:35.866" v="246" actId="313"/>
        <pc:sldMkLst>
          <pc:docMk/>
          <pc:sldMk cId="791055820" sldId="1354"/>
        </pc:sldMkLst>
        <pc:spChg chg="mod">
          <ac:chgData name="Hesse, Thomas Dr." userId="661ed4e0-7782-4a1c-9bc8-dd191b47db53" providerId="ADAL" clId="{ECEC1DAD-872C-4AE4-93B1-14CD65D425A7}" dt="2023-06-08T06:02:35.866" v="246" actId="313"/>
          <ac:spMkLst>
            <pc:docMk/>
            <pc:sldMk cId="791055820" sldId="1354"/>
            <ac:spMk id="2" creationId="{77E0499E-1B3B-40DC-96C0-D6D083B16595}"/>
          </ac:spMkLst>
        </pc:spChg>
      </pc:sldChg>
      <pc:sldChg chg="modSp mod">
        <pc:chgData name="Hesse, Thomas Dr." userId="661ed4e0-7782-4a1c-9bc8-dd191b47db53" providerId="ADAL" clId="{ECEC1DAD-872C-4AE4-93B1-14CD65D425A7}" dt="2023-06-08T06:02:37.524" v="250" actId="313"/>
        <pc:sldMkLst>
          <pc:docMk/>
          <pc:sldMk cId="3013167156" sldId="1355"/>
        </pc:sldMkLst>
        <pc:spChg chg="mod">
          <ac:chgData name="Hesse, Thomas Dr." userId="661ed4e0-7782-4a1c-9bc8-dd191b47db53" providerId="ADAL" clId="{ECEC1DAD-872C-4AE4-93B1-14CD65D425A7}" dt="2023-06-08T06:02:37.524" v="250" actId="313"/>
          <ac:spMkLst>
            <pc:docMk/>
            <pc:sldMk cId="3013167156" sldId="1355"/>
            <ac:spMk id="2" creationId="{4B37A3E3-03B6-4D3F-807D-7650A7719E24}"/>
          </ac:spMkLst>
        </pc:spChg>
      </pc:sldChg>
      <pc:sldChg chg="modSp mod">
        <pc:chgData name="Hesse, Thomas Dr." userId="661ed4e0-7782-4a1c-9bc8-dd191b47db53" providerId="ADAL" clId="{ECEC1DAD-872C-4AE4-93B1-14CD65D425A7}" dt="2023-06-08T06:02:37.905" v="251" actId="313"/>
        <pc:sldMkLst>
          <pc:docMk/>
          <pc:sldMk cId="1195004853" sldId="1356"/>
        </pc:sldMkLst>
        <pc:spChg chg="mod">
          <ac:chgData name="Hesse, Thomas Dr." userId="661ed4e0-7782-4a1c-9bc8-dd191b47db53" providerId="ADAL" clId="{ECEC1DAD-872C-4AE4-93B1-14CD65D425A7}" dt="2023-06-08T06:02:37.905" v="251" actId="313"/>
          <ac:spMkLst>
            <pc:docMk/>
            <pc:sldMk cId="1195004853" sldId="1356"/>
            <ac:spMk id="2" creationId="{D05E4AD4-2E8C-48A2-938F-C3B137E585BD}"/>
          </ac:spMkLst>
        </pc:spChg>
      </pc:sldChg>
      <pc:sldChg chg="addSp delSp modSp mod">
        <pc:chgData name="Hesse, Thomas Dr." userId="661ed4e0-7782-4a1c-9bc8-dd191b47db53" providerId="ADAL" clId="{ECEC1DAD-872C-4AE4-93B1-14CD65D425A7}" dt="2023-06-08T06:02:39.487" v="255" actId="313"/>
        <pc:sldMkLst>
          <pc:docMk/>
          <pc:sldMk cId="807508116" sldId="1357"/>
        </pc:sldMkLst>
        <pc:spChg chg="mod">
          <ac:chgData name="Hesse, Thomas Dr." userId="661ed4e0-7782-4a1c-9bc8-dd191b47db53" providerId="ADAL" clId="{ECEC1DAD-872C-4AE4-93B1-14CD65D425A7}" dt="2023-06-08T06:02:39.487" v="255" actId="313"/>
          <ac:spMkLst>
            <pc:docMk/>
            <pc:sldMk cId="807508116" sldId="1357"/>
            <ac:spMk id="2" creationId="{A581F773-50C6-4201-AA77-159D242326AB}"/>
          </ac:spMkLst>
        </pc:spChg>
        <pc:spChg chg="add del mod">
          <ac:chgData name="Hesse, Thomas Dr." userId="661ed4e0-7782-4a1c-9bc8-dd191b47db53" providerId="ADAL" clId="{ECEC1DAD-872C-4AE4-93B1-14CD65D425A7}" dt="2023-06-06T10:32:47.585" v="74" actId="478"/>
          <ac:spMkLst>
            <pc:docMk/>
            <pc:sldMk cId="807508116" sldId="1357"/>
            <ac:spMk id="5" creationId="{9640D0BD-92E0-6003-9A48-AB9103E81777}"/>
          </ac:spMkLst>
        </pc:spChg>
        <pc:spChg chg="mod">
          <ac:chgData name="Hesse, Thomas Dr." userId="661ed4e0-7782-4a1c-9bc8-dd191b47db53" providerId="ADAL" clId="{ECEC1DAD-872C-4AE4-93B1-14CD65D425A7}" dt="2023-06-06T10:33:06.793" v="100" actId="20577"/>
          <ac:spMkLst>
            <pc:docMk/>
            <pc:sldMk cId="807508116" sldId="1357"/>
            <ac:spMk id="9" creationId="{1CF653FB-3CD7-42B7-B8D0-DC30DD14EE37}"/>
          </ac:spMkLst>
        </pc:spChg>
        <pc:spChg chg="add del mod">
          <ac:chgData name="Hesse, Thomas Dr." userId="661ed4e0-7782-4a1c-9bc8-dd191b47db53" providerId="ADAL" clId="{ECEC1DAD-872C-4AE4-93B1-14CD65D425A7}" dt="2023-06-06T10:33:20.405" v="149" actId="20577"/>
          <ac:spMkLst>
            <pc:docMk/>
            <pc:sldMk cId="807508116" sldId="1357"/>
            <ac:spMk id="10" creationId="{8ABA3F66-E73A-47A1-A36F-1F2561667F15}"/>
          </ac:spMkLst>
        </pc:spChg>
      </pc:sldChg>
      <pc:sldChg chg="modSp mod">
        <pc:chgData name="Hesse, Thomas Dr." userId="661ed4e0-7782-4a1c-9bc8-dd191b47db53" providerId="ADAL" clId="{ECEC1DAD-872C-4AE4-93B1-14CD65D425A7}" dt="2023-06-08T06:11:23.127" v="312" actId="313"/>
        <pc:sldMkLst>
          <pc:docMk/>
          <pc:sldMk cId="4093543066" sldId="1358"/>
        </pc:sldMkLst>
        <pc:spChg chg="mod">
          <ac:chgData name="Hesse, Thomas Dr." userId="661ed4e0-7782-4a1c-9bc8-dd191b47db53" providerId="ADAL" clId="{ECEC1DAD-872C-4AE4-93B1-14CD65D425A7}" dt="2023-06-08T06:02:39.890" v="256" actId="313"/>
          <ac:spMkLst>
            <pc:docMk/>
            <pc:sldMk cId="4093543066" sldId="1358"/>
            <ac:spMk id="2" creationId="{B13FDCCC-FEC3-4900-8BA1-A8B99151C844}"/>
          </ac:spMkLst>
        </pc:spChg>
        <pc:spChg chg="mod">
          <ac:chgData name="Hesse, Thomas Dr." userId="661ed4e0-7782-4a1c-9bc8-dd191b47db53" providerId="ADAL" clId="{ECEC1DAD-872C-4AE4-93B1-14CD65D425A7}" dt="2023-06-08T06:11:10.877" v="309" actId="313"/>
          <ac:spMkLst>
            <pc:docMk/>
            <pc:sldMk cId="4093543066" sldId="1358"/>
            <ac:spMk id="15" creationId="{357CF3FF-359D-48CE-BCC6-5035EA69FA71}"/>
          </ac:spMkLst>
        </pc:spChg>
        <pc:spChg chg="mod">
          <ac:chgData name="Hesse, Thomas Dr." userId="661ed4e0-7782-4a1c-9bc8-dd191b47db53" providerId="ADAL" clId="{ECEC1DAD-872C-4AE4-93B1-14CD65D425A7}" dt="2023-06-08T06:11:23.127" v="312" actId="313"/>
          <ac:spMkLst>
            <pc:docMk/>
            <pc:sldMk cId="4093543066" sldId="1358"/>
            <ac:spMk id="16" creationId="{8CDA0F25-D822-44CA-85E3-8929A73BEB74}"/>
          </ac:spMkLst>
        </pc:spChg>
      </pc:sldChg>
      <pc:sldChg chg="addSp delSp modSp mod">
        <pc:chgData name="Hesse, Thomas Dr." userId="661ed4e0-7782-4a1c-9bc8-dd191b47db53" providerId="ADAL" clId="{ECEC1DAD-872C-4AE4-93B1-14CD65D425A7}" dt="2023-06-08T06:29:11.312" v="520" actId="14100"/>
        <pc:sldMkLst>
          <pc:docMk/>
          <pc:sldMk cId="919163215" sldId="1359"/>
        </pc:sldMkLst>
        <pc:spChg chg="mod">
          <ac:chgData name="Hesse, Thomas Dr." userId="661ed4e0-7782-4a1c-9bc8-dd191b47db53" providerId="ADAL" clId="{ECEC1DAD-872C-4AE4-93B1-14CD65D425A7}" dt="2023-06-08T06:02:40.686" v="258" actId="313"/>
          <ac:spMkLst>
            <pc:docMk/>
            <pc:sldMk cId="919163215" sldId="1359"/>
            <ac:spMk id="2" creationId="{533EFDBB-EF2F-4DEB-991A-39A919BA52E9}"/>
          </ac:spMkLst>
        </pc:spChg>
        <pc:picChg chg="add mod">
          <ac:chgData name="Hesse, Thomas Dr." userId="661ed4e0-7782-4a1c-9bc8-dd191b47db53" providerId="ADAL" clId="{ECEC1DAD-872C-4AE4-93B1-14CD65D425A7}" dt="2023-06-08T06:28:53.880" v="518" actId="1076"/>
          <ac:picMkLst>
            <pc:docMk/>
            <pc:sldMk cId="919163215" sldId="1359"/>
            <ac:picMk id="3" creationId="{D83B1002-25BB-448F-2883-CEF1641C2736}"/>
          </ac:picMkLst>
        </pc:picChg>
        <pc:picChg chg="add del">
          <ac:chgData name="Hesse, Thomas Dr." userId="661ed4e0-7782-4a1c-9bc8-dd191b47db53" providerId="ADAL" clId="{ECEC1DAD-872C-4AE4-93B1-14CD65D425A7}" dt="2023-06-08T06:28:40.738" v="516" actId="478"/>
          <ac:picMkLst>
            <pc:docMk/>
            <pc:sldMk cId="919163215" sldId="1359"/>
            <ac:picMk id="16" creationId="{DC26EB2E-3FD2-45ED-AB66-CC05B36A3277}"/>
          </ac:picMkLst>
        </pc:picChg>
        <pc:picChg chg="mod">
          <ac:chgData name="Hesse, Thomas Dr." userId="661ed4e0-7782-4a1c-9bc8-dd191b47db53" providerId="ADAL" clId="{ECEC1DAD-872C-4AE4-93B1-14CD65D425A7}" dt="2023-06-08T06:29:11.312" v="520" actId="14100"/>
          <ac:picMkLst>
            <pc:docMk/>
            <pc:sldMk cId="919163215" sldId="1359"/>
            <ac:picMk id="18" creationId="{1B685B8F-C1B3-441E-B7D4-716743567937}"/>
          </ac:picMkLst>
        </pc:picChg>
      </pc:sldChg>
      <pc:sldChg chg="modSp mod">
        <pc:chgData name="Hesse, Thomas Dr." userId="661ed4e0-7782-4a1c-9bc8-dd191b47db53" providerId="ADAL" clId="{ECEC1DAD-872C-4AE4-93B1-14CD65D425A7}" dt="2023-06-08T06:02:38.703" v="253" actId="313"/>
        <pc:sldMkLst>
          <pc:docMk/>
          <pc:sldMk cId="49344569" sldId="1360"/>
        </pc:sldMkLst>
        <pc:spChg chg="mod">
          <ac:chgData name="Hesse, Thomas Dr." userId="661ed4e0-7782-4a1c-9bc8-dd191b47db53" providerId="ADAL" clId="{ECEC1DAD-872C-4AE4-93B1-14CD65D425A7}" dt="2023-06-08T06:02:38.703" v="253" actId="313"/>
          <ac:spMkLst>
            <pc:docMk/>
            <pc:sldMk cId="49344569" sldId="1360"/>
            <ac:spMk id="2" creationId="{8D3965E5-2BF4-4A61-8718-ADB8870CF5F9}"/>
          </ac:spMkLst>
        </pc:spChg>
      </pc:sldChg>
      <pc:sldChg chg="modSp mod">
        <pc:chgData name="Hesse, Thomas Dr." userId="661ed4e0-7782-4a1c-9bc8-dd191b47db53" providerId="ADAL" clId="{ECEC1DAD-872C-4AE4-93B1-14CD65D425A7}" dt="2023-06-08T06:02:39.057" v="254" actId="313"/>
        <pc:sldMkLst>
          <pc:docMk/>
          <pc:sldMk cId="927447226" sldId="1361"/>
        </pc:sldMkLst>
        <pc:spChg chg="mod">
          <ac:chgData name="Hesse, Thomas Dr." userId="661ed4e0-7782-4a1c-9bc8-dd191b47db53" providerId="ADAL" clId="{ECEC1DAD-872C-4AE4-93B1-14CD65D425A7}" dt="2023-06-08T06:02:39.057" v="254" actId="313"/>
          <ac:spMkLst>
            <pc:docMk/>
            <pc:sldMk cId="927447226" sldId="1361"/>
            <ac:spMk id="2" creationId="{70DD5BDD-4372-467E-ADB7-C22F11FD1CCE}"/>
          </ac:spMkLst>
        </pc:spChg>
      </pc:sldChg>
      <pc:sldChg chg="addSp delSp modSp mod modAnim">
        <pc:chgData name="Hesse, Thomas Dr." userId="661ed4e0-7782-4a1c-9bc8-dd191b47db53" providerId="ADAL" clId="{ECEC1DAD-872C-4AE4-93B1-14CD65D425A7}" dt="2023-06-08T07:42:35.658" v="1249"/>
        <pc:sldMkLst>
          <pc:docMk/>
          <pc:sldMk cId="1565738427" sldId="1367"/>
        </pc:sldMkLst>
        <pc:spChg chg="mod">
          <ac:chgData name="Hesse, Thomas Dr." userId="661ed4e0-7782-4a1c-9bc8-dd191b47db53" providerId="ADAL" clId="{ECEC1DAD-872C-4AE4-93B1-14CD65D425A7}" dt="2023-06-08T06:02:40.296" v="257" actId="313"/>
          <ac:spMkLst>
            <pc:docMk/>
            <pc:sldMk cId="1565738427" sldId="1367"/>
            <ac:spMk id="2" creationId="{48EAE544-0542-4C36-86CA-4EDB15EA4408}"/>
          </ac:spMkLst>
        </pc:spChg>
        <pc:spChg chg="add mod">
          <ac:chgData name="Hesse, Thomas Dr." userId="661ed4e0-7782-4a1c-9bc8-dd191b47db53" providerId="ADAL" clId="{ECEC1DAD-872C-4AE4-93B1-14CD65D425A7}" dt="2023-06-08T06:39:43.851" v="754" actId="14100"/>
          <ac:spMkLst>
            <pc:docMk/>
            <pc:sldMk cId="1565738427" sldId="1367"/>
            <ac:spMk id="6" creationId="{7C7C805B-1132-6139-6208-7966192AB748}"/>
          </ac:spMkLst>
        </pc:spChg>
        <pc:spChg chg="add mod">
          <ac:chgData name="Hesse, Thomas Dr." userId="661ed4e0-7782-4a1c-9bc8-dd191b47db53" providerId="ADAL" clId="{ECEC1DAD-872C-4AE4-93B1-14CD65D425A7}" dt="2023-06-08T06:39:36.380" v="753" actId="14100"/>
          <ac:spMkLst>
            <pc:docMk/>
            <pc:sldMk cId="1565738427" sldId="1367"/>
            <ac:spMk id="8" creationId="{DC45F0CC-CD65-1CFA-2CF2-7F45A65C62E8}"/>
          </ac:spMkLst>
        </pc:spChg>
        <pc:spChg chg="mod">
          <ac:chgData name="Hesse, Thomas Dr." userId="661ed4e0-7782-4a1c-9bc8-dd191b47db53" providerId="ADAL" clId="{ECEC1DAD-872C-4AE4-93B1-14CD65D425A7}" dt="2023-06-08T06:34:14.272" v="614" actId="20577"/>
          <ac:spMkLst>
            <pc:docMk/>
            <pc:sldMk cId="1565738427" sldId="1367"/>
            <ac:spMk id="9" creationId="{1CF653FB-3CD7-42B7-B8D0-DC30DD14EE37}"/>
          </ac:spMkLst>
        </pc:spChg>
        <pc:spChg chg="add mod">
          <ac:chgData name="Hesse, Thomas Dr." userId="661ed4e0-7782-4a1c-9bc8-dd191b47db53" providerId="ADAL" clId="{ECEC1DAD-872C-4AE4-93B1-14CD65D425A7}" dt="2023-06-08T06:38:51.658" v="725" actId="1037"/>
          <ac:spMkLst>
            <pc:docMk/>
            <pc:sldMk cId="1565738427" sldId="1367"/>
            <ac:spMk id="10" creationId="{4143F86F-671C-21A9-F6E9-6066F9B91F27}"/>
          </ac:spMkLst>
        </pc:spChg>
        <pc:spChg chg="add mod">
          <ac:chgData name="Hesse, Thomas Dr." userId="661ed4e0-7782-4a1c-9bc8-dd191b47db53" providerId="ADAL" clId="{ECEC1DAD-872C-4AE4-93B1-14CD65D425A7}" dt="2023-06-08T06:38:51.658" v="725" actId="1037"/>
          <ac:spMkLst>
            <pc:docMk/>
            <pc:sldMk cId="1565738427" sldId="1367"/>
            <ac:spMk id="11" creationId="{5241521C-460D-8DB5-F80F-71F696AC81B4}"/>
          </ac:spMkLst>
        </pc:spChg>
        <pc:spChg chg="add mod">
          <ac:chgData name="Hesse, Thomas Dr." userId="661ed4e0-7782-4a1c-9bc8-dd191b47db53" providerId="ADAL" clId="{ECEC1DAD-872C-4AE4-93B1-14CD65D425A7}" dt="2023-06-08T06:39:43.851" v="754" actId="14100"/>
          <ac:spMkLst>
            <pc:docMk/>
            <pc:sldMk cId="1565738427" sldId="1367"/>
            <ac:spMk id="12" creationId="{F31DF4EC-F6A7-7FB6-1AD5-A7773D8C0383}"/>
          </ac:spMkLst>
        </pc:spChg>
        <pc:spChg chg="mod">
          <ac:chgData name="Hesse, Thomas Dr." userId="661ed4e0-7782-4a1c-9bc8-dd191b47db53" providerId="ADAL" clId="{ECEC1DAD-872C-4AE4-93B1-14CD65D425A7}" dt="2023-06-08T06:45:28.129" v="948" actId="6549"/>
          <ac:spMkLst>
            <pc:docMk/>
            <pc:sldMk cId="1565738427" sldId="1367"/>
            <ac:spMk id="13" creationId="{643A904A-002F-4BAC-B8AF-0995B9239451}"/>
          </ac:spMkLst>
        </pc:spChg>
        <pc:spChg chg="del">
          <ac:chgData name="Hesse, Thomas Dr." userId="661ed4e0-7782-4a1c-9bc8-dd191b47db53" providerId="ADAL" clId="{ECEC1DAD-872C-4AE4-93B1-14CD65D425A7}" dt="2023-06-08T06:36:20.126" v="619" actId="478"/>
          <ac:spMkLst>
            <pc:docMk/>
            <pc:sldMk cId="1565738427" sldId="1367"/>
            <ac:spMk id="14" creationId="{7DEC11E1-015A-4DAF-9977-92E96E7D4B84}"/>
          </ac:spMkLst>
        </pc:spChg>
        <pc:spChg chg="add mod">
          <ac:chgData name="Hesse, Thomas Dr." userId="661ed4e0-7782-4a1c-9bc8-dd191b47db53" providerId="ADAL" clId="{ECEC1DAD-872C-4AE4-93B1-14CD65D425A7}" dt="2023-06-08T06:39:43.851" v="754" actId="14100"/>
          <ac:spMkLst>
            <pc:docMk/>
            <pc:sldMk cId="1565738427" sldId="1367"/>
            <ac:spMk id="15" creationId="{46E7F9D7-B283-2473-70A8-91C3643CA3B6}"/>
          </ac:spMkLst>
        </pc:spChg>
        <pc:spChg chg="del">
          <ac:chgData name="Hesse, Thomas Dr." userId="661ed4e0-7782-4a1c-9bc8-dd191b47db53" providerId="ADAL" clId="{ECEC1DAD-872C-4AE4-93B1-14CD65D425A7}" dt="2023-06-08T06:36:44.530" v="620" actId="478"/>
          <ac:spMkLst>
            <pc:docMk/>
            <pc:sldMk cId="1565738427" sldId="1367"/>
            <ac:spMk id="16" creationId="{49E13429-6C50-4AF5-B747-895F949444BC}"/>
          </ac:spMkLst>
        </pc:spChg>
        <pc:picChg chg="add mod">
          <ac:chgData name="Hesse, Thomas Dr." userId="661ed4e0-7782-4a1c-9bc8-dd191b47db53" providerId="ADAL" clId="{ECEC1DAD-872C-4AE4-93B1-14CD65D425A7}" dt="2023-06-08T06:36:17.226" v="618" actId="14100"/>
          <ac:picMkLst>
            <pc:docMk/>
            <pc:sldMk cId="1565738427" sldId="1367"/>
            <ac:picMk id="5" creationId="{29C728B9-BD03-B611-BDBC-EB2D87735CCA}"/>
          </ac:picMkLst>
        </pc:picChg>
        <pc:picChg chg="add del mod">
          <ac:chgData name="Hesse, Thomas Dr." userId="661ed4e0-7782-4a1c-9bc8-dd191b47db53" providerId="ADAL" clId="{ECEC1DAD-872C-4AE4-93B1-14CD65D425A7}" dt="2023-06-08T06:37:09.120" v="622" actId="478"/>
          <ac:picMkLst>
            <pc:docMk/>
            <pc:sldMk cId="1565738427" sldId="1367"/>
            <ac:picMk id="7" creationId="{8A92FC80-54A5-1B95-4BD0-151ABD5918C8}"/>
          </ac:picMkLst>
        </pc:picChg>
      </pc:sldChg>
      <pc:sldChg chg="modSp mod">
        <pc:chgData name="Hesse, Thomas Dr." userId="661ed4e0-7782-4a1c-9bc8-dd191b47db53" providerId="ADAL" clId="{ECEC1DAD-872C-4AE4-93B1-14CD65D425A7}" dt="2023-06-08T06:02:37.106" v="249" actId="313"/>
        <pc:sldMkLst>
          <pc:docMk/>
          <pc:sldMk cId="1771177138" sldId="1368"/>
        </pc:sldMkLst>
        <pc:spChg chg="mod">
          <ac:chgData name="Hesse, Thomas Dr." userId="661ed4e0-7782-4a1c-9bc8-dd191b47db53" providerId="ADAL" clId="{ECEC1DAD-872C-4AE4-93B1-14CD65D425A7}" dt="2023-06-08T06:02:37.106" v="249" actId="313"/>
          <ac:spMkLst>
            <pc:docMk/>
            <pc:sldMk cId="1771177138" sldId="1368"/>
            <ac:spMk id="2" creationId="{311346DD-084C-4724-BEFE-8CFED3AC4590}"/>
          </ac:spMkLst>
        </pc:spChg>
      </pc:sldChg>
      <pc:sldChg chg="modSp mod">
        <pc:chgData name="Hesse, Thomas Dr." userId="661ed4e0-7782-4a1c-9bc8-dd191b47db53" providerId="ADAL" clId="{ECEC1DAD-872C-4AE4-93B1-14CD65D425A7}" dt="2023-06-08T06:02:38.324" v="252" actId="313"/>
        <pc:sldMkLst>
          <pc:docMk/>
          <pc:sldMk cId="3721132263" sldId="1369"/>
        </pc:sldMkLst>
        <pc:spChg chg="mod">
          <ac:chgData name="Hesse, Thomas Dr." userId="661ed4e0-7782-4a1c-9bc8-dd191b47db53" providerId="ADAL" clId="{ECEC1DAD-872C-4AE4-93B1-14CD65D425A7}" dt="2023-06-08T06:02:38.324" v="252" actId="313"/>
          <ac:spMkLst>
            <pc:docMk/>
            <pc:sldMk cId="3721132263" sldId="1369"/>
            <ac:spMk id="2" creationId="{017A97A3-35B6-429B-962F-F4E17CA45A46}"/>
          </ac:spMkLst>
        </pc:spChg>
      </pc:sldChg>
      <pc:sldChg chg="modSp mod">
        <pc:chgData name="Hesse, Thomas Dr." userId="661ed4e0-7782-4a1c-9bc8-dd191b47db53" providerId="ADAL" clId="{ECEC1DAD-872C-4AE4-93B1-14CD65D425A7}" dt="2023-06-08T06:11:25.472" v="315" actId="313"/>
        <pc:sldMkLst>
          <pc:docMk/>
          <pc:sldMk cId="4205088864" sldId="1370"/>
        </pc:sldMkLst>
        <pc:spChg chg="mod">
          <ac:chgData name="Hesse, Thomas Dr." userId="661ed4e0-7782-4a1c-9bc8-dd191b47db53" providerId="ADAL" clId="{ECEC1DAD-872C-4AE4-93B1-14CD65D425A7}" dt="2023-06-08T06:02:36.307" v="247" actId="313"/>
          <ac:spMkLst>
            <pc:docMk/>
            <pc:sldMk cId="4205088864" sldId="1370"/>
            <ac:spMk id="2" creationId="{69696A8A-EB21-4DA7-86CB-3E0D4A0908DB}"/>
          </ac:spMkLst>
        </pc:spChg>
        <pc:spChg chg="mod">
          <ac:chgData name="Hesse, Thomas Dr." userId="661ed4e0-7782-4a1c-9bc8-dd191b47db53" providerId="ADAL" clId="{ECEC1DAD-872C-4AE4-93B1-14CD65D425A7}" dt="2023-06-08T06:11:25.472" v="315" actId="313"/>
          <ac:spMkLst>
            <pc:docMk/>
            <pc:sldMk cId="4205088864" sldId="1370"/>
            <ac:spMk id="5" creationId="{767DEA81-4437-4CA1-A5EF-9456F03826EB}"/>
          </ac:spMkLst>
        </pc:spChg>
      </pc:sldChg>
      <pc:sldChg chg="addSp delSp modSp add del mod">
        <pc:chgData name="Hesse, Thomas Dr." userId="661ed4e0-7782-4a1c-9bc8-dd191b47db53" providerId="ADAL" clId="{ECEC1DAD-872C-4AE4-93B1-14CD65D425A7}" dt="2023-06-08T06:47:21.197" v="972" actId="20577"/>
        <pc:sldMkLst>
          <pc:docMk/>
          <pc:sldMk cId="773043466" sldId="1371"/>
        </pc:sldMkLst>
        <pc:spChg chg="add mod">
          <ac:chgData name="Hesse, Thomas Dr." userId="661ed4e0-7782-4a1c-9bc8-dd191b47db53" providerId="ADAL" clId="{ECEC1DAD-872C-4AE4-93B1-14CD65D425A7}" dt="2023-06-08T06:32:44.327" v="552" actId="20577"/>
          <ac:spMkLst>
            <pc:docMk/>
            <pc:sldMk cId="773043466" sldId="1371"/>
            <ac:spMk id="3" creationId="{4B14D060-0BC3-04A4-3775-F450C9A89075}"/>
          </ac:spMkLst>
        </pc:spChg>
        <pc:spChg chg="mod">
          <ac:chgData name="Hesse, Thomas Dr." userId="661ed4e0-7782-4a1c-9bc8-dd191b47db53" providerId="ADAL" clId="{ECEC1DAD-872C-4AE4-93B1-14CD65D425A7}" dt="2023-06-08T06:47:21.197" v="972" actId="20577"/>
          <ac:spMkLst>
            <pc:docMk/>
            <pc:sldMk cId="773043466" sldId="1371"/>
            <ac:spMk id="9" creationId="{1CF653FB-3CD7-42B7-B8D0-DC30DD14EE37}"/>
          </ac:spMkLst>
        </pc:spChg>
        <pc:spChg chg="mod ord">
          <ac:chgData name="Hesse, Thomas Dr." userId="661ed4e0-7782-4a1c-9bc8-dd191b47db53" providerId="ADAL" clId="{ECEC1DAD-872C-4AE4-93B1-14CD65D425A7}" dt="2023-06-08T06:32:48.074" v="554" actId="20577"/>
          <ac:spMkLst>
            <pc:docMk/>
            <pc:sldMk cId="773043466" sldId="1371"/>
            <ac:spMk id="14" creationId="{7DEC11E1-015A-4DAF-9977-92E96E7D4B84}"/>
          </ac:spMkLst>
        </pc:spChg>
        <pc:spChg chg="del mod">
          <ac:chgData name="Hesse, Thomas Dr." userId="661ed4e0-7782-4a1c-9bc8-dd191b47db53" providerId="ADAL" clId="{ECEC1DAD-872C-4AE4-93B1-14CD65D425A7}" dt="2023-06-08T06:32:40.012" v="550" actId="478"/>
          <ac:spMkLst>
            <pc:docMk/>
            <pc:sldMk cId="773043466" sldId="1371"/>
            <ac:spMk id="16" creationId="{49E13429-6C50-4AF5-B747-895F949444BC}"/>
          </ac:spMkLst>
        </pc:spChg>
      </pc:sldChg>
      <pc:sldChg chg="modSp add mod modAnim">
        <pc:chgData name="Hesse, Thomas Dr." userId="661ed4e0-7782-4a1c-9bc8-dd191b47db53" providerId="ADAL" clId="{ECEC1DAD-872C-4AE4-93B1-14CD65D425A7}" dt="2023-06-08T07:42:27.679" v="1243"/>
        <pc:sldMkLst>
          <pc:docMk/>
          <pc:sldMk cId="3466192192" sldId="1372"/>
        </pc:sldMkLst>
        <pc:spChg chg="mod">
          <ac:chgData name="Hesse, Thomas Dr." userId="661ed4e0-7782-4a1c-9bc8-dd191b47db53" providerId="ADAL" clId="{ECEC1DAD-872C-4AE4-93B1-14CD65D425A7}" dt="2023-06-08T06:46:34.763" v="966" actId="14100"/>
          <ac:spMkLst>
            <pc:docMk/>
            <pc:sldMk cId="3466192192" sldId="1372"/>
            <ac:spMk id="6" creationId="{7C7C805B-1132-6139-6208-7966192AB748}"/>
          </ac:spMkLst>
        </pc:spChg>
        <pc:spChg chg="mod">
          <ac:chgData name="Hesse, Thomas Dr." userId="661ed4e0-7782-4a1c-9bc8-dd191b47db53" providerId="ADAL" clId="{ECEC1DAD-872C-4AE4-93B1-14CD65D425A7}" dt="2023-06-08T06:46:26.562" v="965" actId="1036"/>
          <ac:spMkLst>
            <pc:docMk/>
            <pc:sldMk cId="3466192192" sldId="1372"/>
            <ac:spMk id="8" creationId="{DC45F0CC-CD65-1CFA-2CF2-7F45A65C62E8}"/>
          </ac:spMkLst>
        </pc:spChg>
        <pc:spChg chg="mod">
          <ac:chgData name="Hesse, Thomas Dr." userId="661ed4e0-7782-4a1c-9bc8-dd191b47db53" providerId="ADAL" clId="{ECEC1DAD-872C-4AE4-93B1-14CD65D425A7}" dt="2023-06-08T06:41:58.631" v="825" actId="20577"/>
          <ac:spMkLst>
            <pc:docMk/>
            <pc:sldMk cId="3466192192" sldId="1372"/>
            <ac:spMk id="9" creationId="{1CF653FB-3CD7-42B7-B8D0-DC30DD14EE37}"/>
          </ac:spMkLst>
        </pc:spChg>
        <pc:spChg chg="mod">
          <ac:chgData name="Hesse, Thomas Dr." userId="661ed4e0-7782-4a1c-9bc8-dd191b47db53" providerId="ADAL" clId="{ECEC1DAD-872C-4AE4-93B1-14CD65D425A7}" dt="2023-06-08T06:46:26.562" v="965" actId="1036"/>
          <ac:spMkLst>
            <pc:docMk/>
            <pc:sldMk cId="3466192192" sldId="1372"/>
            <ac:spMk id="10" creationId="{4143F86F-671C-21A9-F6E9-6066F9B91F27}"/>
          </ac:spMkLst>
        </pc:spChg>
        <pc:spChg chg="mod">
          <ac:chgData name="Hesse, Thomas Dr." userId="661ed4e0-7782-4a1c-9bc8-dd191b47db53" providerId="ADAL" clId="{ECEC1DAD-872C-4AE4-93B1-14CD65D425A7}" dt="2023-06-08T06:46:26.562" v="965" actId="1036"/>
          <ac:spMkLst>
            <pc:docMk/>
            <pc:sldMk cId="3466192192" sldId="1372"/>
            <ac:spMk id="11" creationId="{5241521C-460D-8DB5-F80F-71F696AC81B4}"/>
          </ac:spMkLst>
        </pc:spChg>
        <pc:spChg chg="mod">
          <ac:chgData name="Hesse, Thomas Dr." userId="661ed4e0-7782-4a1c-9bc8-dd191b47db53" providerId="ADAL" clId="{ECEC1DAD-872C-4AE4-93B1-14CD65D425A7}" dt="2023-06-08T06:46:34.763" v="966" actId="14100"/>
          <ac:spMkLst>
            <pc:docMk/>
            <pc:sldMk cId="3466192192" sldId="1372"/>
            <ac:spMk id="12" creationId="{F31DF4EC-F6A7-7FB6-1AD5-A7773D8C0383}"/>
          </ac:spMkLst>
        </pc:spChg>
        <pc:spChg chg="mod">
          <ac:chgData name="Hesse, Thomas Dr." userId="661ed4e0-7782-4a1c-9bc8-dd191b47db53" providerId="ADAL" clId="{ECEC1DAD-872C-4AE4-93B1-14CD65D425A7}" dt="2023-06-08T06:42:31.480" v="885" actId="20577"/>
          <ac:spMkLst>
            <pc:docMk/>
            <pc:sldMk cId="3466192192" sldId="1372"/>
            <ac:spMk id="13" creationId="{643A904A-002F-4BAC-B8AF-0995B9239451}"/>
          </ac:spMkLst>
        </pc:spChg>
        <pc:spChg chg="mod">
          <ac:chgData name="Hesse, Thomas Dr." userId="661ed4e0-7782-4a1c-9bc8-dd191b47db53" providerId="ADAL" clId="{ECEC1DAD-872C-4AE4-93B1-14CD65D425A7}" dt="2023-06-08T06:46:34.763" v="966" actId="14100"/>
          <ac:spMkLst>
            <pc:docMk/>
            <pc:sldMk cId="3466192192" sldId="1372"/>
            <ac:spMk id="15" creationId="{46E7F9D7-B283-2473-70A8-91C3643CA3B6}"/>
          </ac:spMkLst>
        </pc:spChg>
        <pc:picChg chg="mod">
          <ac:chgData name="Hesse, Thomas Dr." userId="661ed4e0-7782-4a1c-9bc8-dd191b47db53" providerId="ADAL" clId="{ECEC1DAD-872C-4AE4-93B1-14CD65D425A7}" dt="2023-06-08T06:46:16.690" v="953" actId="14100"/>
          <ac:picMkLst>
            <pc:docMk/>
            <pc:sldMk cId="3466192192" sldId="1372"/>
            <ac:picMk id="5" creationId="{29C728B9-BD03-B611-BDBC-EB2D87735CCA}"/>
          </ac:picMkLst>
        </pc:picChg>
      </pc:sldChg>
      <pc:sldChg chg="addSp delSp modSp add mod setBg">
        <pc:chgData name="Hesse, Thomas Dr." userId="661ed4e0-7782-4a1c-9bc8-dd191b47db53" providerId="ADAL" clId="{ECEC1DAD-872C-4AE4-93B1-14CD65D425A7}" dt="2023-06-08T07:21:09.905" v="1083" actId="1076"/>
        <pc:sldMkLst>
          <pc:docMk/>
          <pc:sldMk cId="2972490258" sldId="1373"/>
        </pc:sldMkLst>
        <pc:spChg chg="mod">
          <ac:chgData name="Hesse, Thomas Dr." userId="661ed4e0-7782-4a1c-9bc8-dd191b47db53" providerId="ADAL" clId="{ECEC1DAD-872C-4AE4-93B1-14CD65D425A7}" dt="2023-06-08T07:17:53.875" v="1071"/>
          <ac:spMkLst>
            <pc:docMk/>
            <pc:sldMk cId="2972490258" sldId="1373"/>
            <ac:spMk id="2" creationId="{CF40BF5C-03B7-465A-97C6-DD3B9D4DBEC7}"/>
          </ac:spMkLst>
        </pc:spChg>
        <pc:spChg chg="del">
          <ac:chgData name="Hesse, Thomas Dr." userId="661ed4e0-7782-4a1c-9bc8-dd191b47db53" providerId="ADAL" clId="{ECEC1DAD-872C-4AE4-93B1-14CD65D425A7}" dt="2023-06-08T07:12:47.855" v="1067" actId="478"/>
          <ac:spMkLst>
            <pc:docMk/>
            <pc:sldMk cId="2972490258" sldId="1373"/>
            <ac:spMk id="3" creationId="{4DC771F0-88C5-9148-6C2F-30F6F01C0848}"/>
          </ac:spMkLst>
        </pc:spChg>
        <pc:spChg chg="mod">
          <ac:chgData name="Hesse, Thomas Dr." userId="661ed4e0-7782-4a1c-9bc8-dd191b47db53" providerId="ADAL" clId="{ECEC1DAD-872C-4AE4-93B1-14CD65D425A7}" dt="2023-06-08T07:17:53.875" v="1071"/>
          <ac:spMkLst>
            <pc:docMk/>
            <pc:sldMk cId="2972490258" sldId="1373"/>
            <ac:spMk id="4" creationId="{1B4E4E8C-7372-4333-906E-A3A873B0671C}"/>
          </ac:spMkLst>
        </pc:spChg>
        <pc:spChg chg="del">
          <ac:chgData name="Hesse, Thomas Dr." userId="661ed4e0-7782-4a1c-9bc8-dd191b47db53" providerId="ADAL" clId="{ECEC1DAD-872C-4AE4-93B1-14CD65D425A7}" dt="2023-06-08T07:12:47.855" v="1067" actId="478"/>
          <ac:spMkLst>
            <pc:docMk/>
            <pc:sldMk cId="2972490258" sldId="1373"/>
            <ac:spMk id="6" creationId="{E30E50DB-9E8F-001B-C8D8-CCE1E4D6A29C}"/>
          </ac:spMkLst>
        </pc:spChg>
        <pc:spChg chg="add del mod">
          <ac:chgData name="Hesse, Thomas Dr." userId="661ed4e0-7782-4a1c-9bc8-dd191b47db53" providerId="ADAL" clId="{ECEC1DAD-872C-4AE4-93B1-14CD65D425A7}" dt="2023-06-08T07:12:07.547" v="1021"/>
          <ac:spMkLst>
            <pc:docMk/>
            <pc:sldMk cId="2972490258" sldId="1373"/>
            <ac:spMk id="8" creationId="{0071CD21-20AB-F1ED-7A47-DC138A02F842}"/>
          </ac:spMkLst>
        </pc:spChg>
        <pc:spChg chg="mod">
          <ac:chgData name="Hesse, Thomas Dr." userId="661ed4e0-7782-4a1c-9bc8-dd191b47db53" providerId="ADAL" clId="{ECEC1DAD-872C-4AE4-93B1-14CD65D425A7}" dt="2023-06-08T07:17:53.875" v="1071"/>
          <ac:spMkLst>
            <pc:docMk/>
            <pc:sldMk cId="2972490258" sldId="1373"/>
            <ac:spMk id="9" creationId="{1CF653FB-3CD7-42B7-B8D0-DC30DD14EE37}"/>
          </ac:spMkLst>
        </pc:spChg>
        <pc:spChg chg="add mod">
          <ac:chgData name="Hesse, Thomas Dr." userId="661ed4e0-7782-4a1c-9bc8-dd191b47db53" providerId="ADAL" clId="{ECEC1DAD-872C-4AE4-93B1-14CD65D425A7}" dt="2023-06-08T07:12:38.778" v="1066" actId="20577"/>
          <ac:spMkLst>
            <pc:docMk/>
            <pc:sldMk cId="2972490258" sldId="1373"/>
            <ac:spMk id="11" creationId="{9CFA0D73-A745-8968-4F36-FD7AC39884C5}"/>
          </ac:spMkLst>
        </pc:spChg>
        <pc:spChg chg="del">
          <ac:chgData name="Hesse, Thomas Dr." userId="661ed4e0-7782-4a1c-9bc8-dd191b47db53" providerId="ADAL" clId="{ECEC1DAD-872C-4AE4-93B1-14CD65D425A7}" dt="2023-06-08T07:12:47.855" v="1067" actId="478"/>
          <ac:spMkLst>
            <pc:docMk/>
            <pc:sldMk cId="2972490258" sldId="1373"/>
            <ac:spMk id="14" creationId="{7DEC11E1-015A-4DAF-9977-92E96E7D4B84}"/>
          </ac:spMkLst>
        </pc:spChg>
        <pc:spChg chg="del">
          <ac:chgData name="Hesse, Thomas Dr." userId="661ed4e0-7782-4a1c-9bc8-dd191b47db53" providerId="ADAL" clId="{ECEC1DAD-872C-4AE4-93B1-14CD65D425A7}" dt="2023-06-08T07:12:47.855" v="1067" actId="478"/>
          <ac:spMkLst>
            <pc:docMk/>
            <pc:sldMk cId="2972490258" sldId="1373"/>
            <ac:spMk id="15" creationId="{FFA048F0-3F48-4719-8C00-8A9C019C386F}"/>
          </ac:spMkLst>
        </pc:spChg>
        <pc:spChg chg="del">
          <ac:chgData name="Hesse, Thomas Dr." userId="661ed4e0-7782-4a1c-9bc8-dd191b47db53" providerId="ADAL" clId="{ECEC1DAD-872C-4AE4-93B1-14CD65D425A7}" dt="2023-06-08T07:12:47.855" v="1067" actId="478"/>
          <ac:spMkLst>
            <pc:docMk/>
            <pc:sldMk cId="2972490258" sldId="1373"/>
            <ac:spMk id="16" creationId="{49E13429-6C50-4AF5-B747-895F949444BC}"/>
          </ac:spMkLst>
        </pc:spChg>
        <pc:spChg chg="del">
          <ac:chgData name="Hesse, Thomas Dr." userId="661ed4e0-7782-4a1c-9bc8-dd191b47db53" providerId="ADAL" clId="{ECEC1DAD-872C-4AE4-93B1-14CD65D425A7}" dt="2023-06-08T07:12:47.855" v="1067" actId="478"/>
          <ac:spMkLst>
            <pc:docMk/>
            <pc:sldMk cId="2972490258" sldId="1373"/>
            <ac:spMk id="17" creationId="{C39D7025-5A8C-4CD6-A64E-8128C4669114}"/>
          </ac:spMkLst>
        </pc:spChg>
        <pc:spChg chg="add mod">
          <ac:chgData name="Hesse, Thomas Dr." userId="661ed4e0-7782-4a1c-9bc8-dd191b47db53" providerId="ADAL" clId="{ECEC1DAD-872C-4AE4-93B1-14CD65D425A7}" dt="2023-06-08T07:21:09.905" v="1083" actId="1076"/>
          <ac:spMkLst>
            <pc:docMk/>
            <pc:sldMk cId="2972490258" sldId="1373"/>
            <ac:spMk id="21" creationId="{BC02E150-24E7-D2A1-8372-5A9347FDBD0D}"/>
          </ac:spMkLst>
        </pc:spChg>
        <pc:picChg chg="del">
          <ac:chgData name="Hesse, Thomas Dr." userId="661ed4e0-7782-4a1c-9bc8-dd191b47db53" providerId="ADAL" clId="{ECEC1DAD-872C-4AE4-93B1-14CD65D425A7}" dt="2023-06-08T07:12:47.855" v="1067" actId="478"/>
          <ac:picMkLst>
            <pc:docMk/>
            <pc:sldMk cId="2972490258" sldId="1373"/>
            <ac:picMk id="5" creationId="{A1C9AF54-9496-C023-CA78-8DCD25D413B4}"/>
          </ac:picMkLst>
        </pc:picChg>
        <pc:picChg chg="del">
          <ac:chgData name="Hesse, Thomas Dr." userId="661ed4e0-7782-4a1c-9bc8-dd191b47db53" providerId="ADAL" clId="{ECEC1DAD-872C-4AE4-93B1-14CD65D425A7}" dt="2023-06-08T07:12:47.855" v="1067" actId="478"/>
          <ac:picMkLst>
            <pc:docMk/>
            <pc:sldMk cId="2972490258" sldId="1373"/>
            <ac:picMk id="7" creationId="{0ECB1D91-1E23-02D6-2938-53023E2E7955}"/>
          </ac:picMkLst>
        </pc:picChg>
        <pc:picChg chg="add del">
          <ac:chgData name="Hesse, Thomas Dr." userId="661ed4e0-7782-4a1c-9bc8-dd191b47db53" providerId="ADAL" clId="{ECEC1DAD-872C-4AE4-93B1-14CD65D425A7}" dt="2023-06-08T07:12:09.854" v="1023"/>
          <ac:picMkLst>
            <pc:docMk/>
            <pc:sldMk cId="2972490258" sldId="1373"/>
            <ac:picMk id="10" creationId="{A1A51952-8817-4068-3DD6-DF1BDD0E884B}"/>
          </ac:picMkLst>
        </pc:picChg>
        <pc:picChg chg="add mod">
          <ac:chgData name="Hesse, Thomas Dr." userId="661ed4e0-7782-4a1c-9bc8-dd191b47db53" providerId="ADAL" clId="{ECEC1DAD-872C-4AE4-93B1-14CD65D425A7}" dt="2023-06-08T07:18:00.394" v="1072" actId="108"/>
          <ac:picMkLst>
            <pc:docMk/>
            <pc:sldMk cId="2972490258" sldId="1373"/>
            <ac:picMk id="13" creationId="{AE9C3437-5176-CDF1-BEE6-A2981779A0CD}"/>
          </ac:picMkLst>
        </pc:picChg>
        <pc:picChg chg="del">
          <ac:chgData name="Hesse, Thomas Dr." userId="661ed4e0-7782-4a1c-9bc8-dd191b47db53" providerId="ADAL" clId="{ECEC1DAD-872C-4AE4-93B1-14CD65D425A7}" dt="2023-06-08T07:12:47.855" v="1067" actId="478"/>
          <ac:picMkLst>
            <pc:docMk/>
            <pc:sldMk cId="2972490258" sldId="1373"/>
            <ac:picMk id="19" creationId="{646ED198-B7FE-4FCB-A7C8-D15F7595A170}"/>
          </ac:picMkLst>
        </pc:picChg>
        <pc:picChg chg="add mod">
          <ac:chgData name="Hesse, Thomas Dr." userId="661ed4e0-7782-4a1c-9bc8-dd191b47db53" providerId="ADAL" clId="{ECEC1DAD-872C-4AE4-93B1-14CD65D425A7}" dt="2023-06-08T07:20:29.713" v="1079" actId="1076"/>
          <ac:picMkLst>
            <pc:docMk/>
            <pc:sldMk cId="2972490258" sldId="1373"/>
            <ac:picMk id="20" creationId="{D0AE1E8D-66C4-FC87-59A9-98BBFCF33D83}"/>
          </ac:picMkLst>
        </pc:picChg>
        <pc:picChg chg="del">
          <ac:chgData name="Hesse, Thomas Dr." userId="661ed4e0-7782-4a1c-9bc8-dd191b47db53" providerId="ADAL" clId="{ECEC1DAD-872C-4AE4-93B1-14CD65D425A7}" dt="2023-06-08T07:12:47.855" v="1067" actId="478"/>
          <ac:picMkLst>
            <pc:docMk/>
            <pc:sldMk cId="2972490258" sldId="1373"/>
            <ac:picMk id="23" creationId="{4FBD0800-76CA-44C6-9413-AA2084F17CCF}"/>
          </ac:picMkLst>
        </pc:picChg>
        <pc:picChg chg="del">
          <ac:chgData name="Hesse, Thomas Dr." userId="661ed4e0-7782-4a1c-9bc8-dd191b47db53" providerId="ADAL" clId="{ECEC1DAD-872C-4AE4-93B1-14CD65D425A7}" dt="2023-06-08T07:12:47.855" v="1067" actId="478"/>
          <ac:picMkLst>
            <pc:docMk/>
            <pc:sldMk cId="2972490258" sldId="1373"/>
            <ac:picMk id="25" creationId="{40B9391E-EB3B-42F7-A150-1CC6512ABC8B}"/>
          </ac:picMkLst>
        </pc:picChg>
      </pc:sldChg>
      <pc:sldChg chg="addSp delSp modSp add mod setBg">
        <pc:chgData name="Hesse, Thomas Dr." userId="661ed4e0-7782-4a1c-9bc8-dd191b47db53" providerId="ADAL" clId="{ECEC1DAD-872C-4AE4-93B1-14CD65D425A7}" dt="2023-06-08T07:30:26.238" v="1134" actId="108"/>
        <pc:sldMkLst>
          <pc:docMk/>
          <pc:sldMk cId="259134654" sldId="1374"/>
        </pc:sldMkLst>
        <pc:spChg chg="mod">
          <ac:chgData name="Hesse, Thomas Dr." userId="661ed4e0-7782-4a1c-9bc8-dd191b47db53" providerId="ADAL" clId="{ECEC1DAD-872C-4AE4-93B1-14CD65D425A7}" dt="2023-06-08T07:22:10.696" v="1129" actId="20577"/>
          <ac:spMkLst>
            <pc:docMk/>
            <pc:sldMk cId="259134654" sldId="1374"/>
            <ac:spMk id="11" creationId="{9CFA0D73-A745-8968-4F36-FD7AC39884C5}"/>
          </ac:spMkLst>
        </pc:spChg>
        <pc:spChg chg="del">
          <ac:chgData name="Hesse, Thomas Dr." userId="661ed4e0-7782-4a1c-9bc8-dd191b47db53" providerId="ADAL" clId="{ECEC1DAD-872C-4AE4-93B1-14CD65D425A7}" dt="2023-06-08T07:22:14.873" v="1130" actId="478"/>
          <ac:spMkLst>
            <pc:docMk/>
            <pc:sldMk cId="259134654" sldId="1374"/>
            <ac:spMk id="21" creationId="{BC02E150-24E7-D2A1-8372-5A9347FDBD0D}"/>
          </ac:spMkLst>
        </pc:spChg>
        <pc:picChg chg="add mod">
          <ac:chgData name="Hesse, Thomas Dr." userId="661ed4e0-7782-4a1c-9bc8-dd191b47db53" providerId="ADAL" clId="{ECEC1DAD-872C-4AE4-93B1-14CD65D425A7}" dt="2023-06-08T07:30:26.238" v="1134" actId="108"/>
          <ac:picMkLst>
            <pc:docMk/>
            <pc:sldMk cId="259134654" sldId="1374"/>
            <ac:picMk id="5" creationId="{9B568295-842E-8AD9-8A7D-9261DE933A1D}"/>
          </ac:picMkLst>
        </pc:picChg>
        <pc:picChg chg="del">
          <ac:chgData name="Hesse, Thomas Dr." userId="661ed4e0-7782-4a1c-9bc8-dd191b47db53" providerId="ADAL" clId="{ECEC1DAD-872C-4AE4-93B1-14CD65D425A7}" dt="2023-06-08T07:22:14.873" v="1130" actId="478"/>
          <ac:picMkLst>
            <pc:docMk/>
            <pc:sldMk cId="259134654" sldId="1374"/>
            <ac:picMk id="13" creationId="{AE9C3437-5176-CDF1-BEE6-A2981779A0CD}"/>
          </ac:picMkLst>
        </pc:picChg>
        <pc:picChg chg="del">
          <ac:chgData name="Hesse, Thomas Dr." userId="661ed4e0-7782-4a1c-9bc8-dd191b47db53" providerId="ADAL" clId="{ECEC1DAD-872C-4AE4-93B1-14CD65D425A7}" dt="2023-06-08T07:22:14.873" v="1130" actId="478"/>
          <ac:picMkLst>
            <pc:docMk/>
            <pc:sldMk cId="259134654" sldId="1374"/>
            <ac:picMk id="20" creationId="{D0AE1E8D-66C4-FC87-59A9-98BBFCF33D83}"/>
          </ac:picMkLst>
        </pc:picChg>
      </pc:sldChg>
      <pc:sldChg chg="addSp delSp modSp add mod modAnim">
        <pc:chgData name="Hesse, Thomas Dr." userId="661ed4e0-7782-4a1c-9bc8-dd191b47db53" providerId="ADAL" clId="{ECEC1DAD-872C-4AE4-93B1-14CD65D425A7}" dt="2023-06-08T07:40:48.678" v="1238" actId="20577"/>
        <pc:sldMkLst>
          <pc:docMk/>
          <pc:sldMk cId="4258991624" sldId="1375"/>
        </pc:sldMkLst>
        <pc:spChg chg="mod">
          <ac:chgData name="Hesse, Thomas Dr." userId="661ed4e0-7782-4a1c-9bc8-dd191b47db53" providerId="ADAL" clId="{ECEC1DAD-872C-4AE4-93B1-14CD65D425A7}" dt="2023-06-08T07:40:48.678" v="1238" actId="20577"/>
          <ac:spMkLst>
            <pc:docMk/>
            <pc:sldMk cId="4258991624" sldId="1375"/>
            <ac:spMk id="9" creationId="{1CF653FB-3CD7-42B7-B8D0-DC30DD14EE37}"/>
          </ac:spMkLst>
        </pc:spChg>
        <pc:spChg chg="del">
          <ac:chgData name="Hesse, Thomas Dr." userId="661ed4e0-7782-4a1c-9bc8-dd191b47db53" providerId="ADAL" clId="{ECEC1DAD-872C-4AE4-93B1-14CD65D425A7}" dt="2023-06-08T07:38:01.096" v="1199" actId="478"/>
          <ac:spMkLst>
            <pc:docMk/>
            <pc:sldMk cId="4258991624" sldId="1375"/>
            <ac:spMk id="11" creationId="{9CFA0D73-A745-8968-4F36-FD7AC39884C5}"/>
          </ac:spMkLst>
        </pc:spChg>
        <pc:picChg chg="add mod">
          <ac:chgData name="Hesse, Thomas Dr." userId="661ed4e0-7782-4a1c-9bc8-dd191b47db53" providerId="ADAL" clId="{ECEC1DAD-872C-4AE4-93B1-14CD65D425A7}" dt="2023-06-08T07:40:10.965" v="1230" actId="1076"/>
          <ac:picMkLst>
            <pc:docMk/>
            <pc:sldMk cId="4258991624" sldId="1375"/>
            <ac:picMk id="3" creationId="{0AFA2491-369D-A9A3-9798-C171D3EA1409}"/>
          </ac:picMkLst>
        </pc:picChg>
        <pc:picChg chg="mod">
          <ac:chgData name="Hesse, Thomas Dr." userId="661ed4e0-7782-4a1c-9bc8-dd191b47db53" providerId="ADAL" clId="{ECEC1DAD-872C-4AE4-93B1-14CD65D425A7}" dt="2023-06-08T07:39:28.353" v="1224" actId="1076"/>
          <ac:picMkLst>
            <pc:docMk/>
            <pc:sldMk cId="4258991624" sldId="1375"/>
            <ac:picMk id="5" creationId="{9B568295-842E-8AD9-8A7D-9261DE933A1D}"/>
          </ac:picMkLst>
        </pc:picChg>
        <pc:picChg chg="add mod">
          <ac:chgData name="Hesse, Thomas Dr." userId="661ed4e0-7782-4a1c-9bc8-dd191b47db53" providerId="ADAL" clId="{ECEC1DAD-872C-4AE4-93B1-14CD65D425A7}" dt="2023-06-08T07:39:21.317" v="1221" actId="14100"/>
          <ac:picMkLst>
            <pc:docMk/>
            <pc:sldMk cId="4258991624" sldId="1375"/>
            <ac:picMk id="6" creationId="{62934EEB-46D4-8DE7-22F3-790684EFE116}"/>
          </ac:picMkLst>
        </pc:picChg>
        <pc:picChg chg="add mod">
          <ac:chgData name="Hesse, Thomas Dr." userId="661ed4e0-7782-4a1c-9bc8-dd191b47db53" providerId="ADAL" clId="{ECEC1DAD-872C-4AE4-93B1-14CD65D425A7}" dt="2023-06-08T07:39:23.648" v="1222" actId="1076"/>
          <ac:picMkLst>
            <pc:docMk/>
            <pc:sldMk cId="4258991624" sldId="1375"/>
            <ac:picMk id="7" creationId="{26FAD51A-C3AE-8A49-29CB-45571CB62E29}"/>
          </ac:picMkLst>
        </pc:picChg>
      </pc:sldChg>
      <pc:sldMasterChg chg="modSp mod modSldLayout">
        <pc:chgData name="Hesse, Thomas Dr." userId="661ed4e0-7782-4a1c-9bc8-dd191b47db53" providerId="ADAL" clId="{ECEC1DAD-872C-4AE4-93B1-14CD65D425A7}" dt="2023-06-08T06:02:54.349" v="289" actId="313"/>
        <pc:sldMasterMkLst>
          <pc:docMk/>
          <pc:sldMasterMk cId="344016572" sldId="2147483648"/>
        </pc:sldMasterMkLst>
        <pc:spChg chg="mod">
          <ac:chgData name="Hesse, Thomas Dr." userId="661ed4e0-7782-4a1c-9bc8-dd191b47db53" providerId="ADAL" clId="{ECEC1DAD-872C-4AE4-93B1-14CD65D425A7}" dt="2023-06-08T06:02:42.992" v="261" actId="313"/>
          <ac:spMkLst>
            <pc:docMk/>
            <pc:sldMasterMk cId="344016572" sldId="2147483648"/>
            <ac:spMk id="5" creationId="{D2E0BB04-46A4-464C-9A41-A9A0692FF120}"/>
          </ac:spMkLst>
        </pc:spChg>
        <pc:sldLayoutChg chg="modSp mod">
          <pc:chgData name="Hesse, Thomas Dr." userId="661ed4e0-7782-4a1c-9bc8-dd191b47db53" providerId="ADAL" clId="{ECEC1DAD-872C-4AE4-93B1-14CD65D425A7}" dt="2023-06-08T06:02:48.093" v="275" actId="313"/>
          <pc:sldLayoutMkLst>
            <pc:docMk/>
            <pc:sldMasterMk cId="344016572" sldId="2147483648"/>
            <pc:sldLayoutMk cId="3938394686" sldId="2147483650"/>
          </pc:sldLayoutMkLst>
          <pc:spChg chg="mod">
            <ac:chgData name="Hesse, Thomas Dr." userId="661ed4e0-7782-4a1c-9bc8-dd191b47db53" providerId="ADAL" clId="{ECEC1DAD-872C-4AE4-93B1-14CD65D425A7}" dt="2023-06-08T06:02:48.093" v="275" actId="313"/>
            <ac:spMkLst>
              <pc:docMk/>
              <pc:sldMasterMk cId="344016572" sldId="2147483648"/>
              <pc:sldLayoutMk cId="3938394686" sldId="2147483650"/>
              <ac:spMk id="5" creationId="{E85587E9-3B31-4BBA-9208-9968E0312626}"/>
            </ac:spMkLst>
          </pc:spChg>
        </pc:sldLayoutChg>
        <pc:sldLayoutChg chg="modSp mod">
          <pc:chgData name="Hesse, Thomas Dr." userId="661ed4e0-7782-4a1c-9bc8-dd191b47db53" providerId="ADAL" clId="{ECEC1DAD-872C-4AE4-93B1-14CD65D425A7}" dt="2023-06-08T06:02:47.277" v="273" actId="313"/>
          <pc:sldLayoutMkLst>
            <pc:docMk/>
            <pc:sldMasterMk cId="344016572" sldId="2147483648"/>
            <pc:sldLayoutMk cId="3367267801" sldId="2147483651"/>
          </pc:sldLayoutMkLst>
          <pc:spChg chg="mod">
            <ac:chgData name="Hesse, Thomas Dr." userId="661ed4e0-7782-4a1c-9bc8-dd191b47db53" providerId="ADAL" clId="{ECEC1DAD-872C-4AE4-93B1-14CD65D425A7}" dt="2023-06-08T06:02:47.277" v="273" actId="313"/>
            <ac:spMkLst>
              <pc:docMk/>
              <pc:sldMasterMk cId="344016572" sldId="2147483648"/>
              <pc:sldLayoutMk cId="3367267801" sldId="2147483651"/>
              <ac:spMk id="5" creationId="{D156B0D9-175F-4D3C-AD38-24B1C4643E7E}"/>
            </ac:spMkLst>
          </pc:spChg>
        </pc:sldLayoutChg>
        <pc:sldLayoutChg chg="modSp mod">
          <pc:chgData name="Hesse, Thomas Dr." userId="661ed4e0-7782-4a1c-9bc8-dd191b47db53" providerId="ADAL" clId="{ECEC1DAD-872C-4AE4-93B1-14CD65D425A7}" dt="2023-06-08T06:02:44.938" v="267" actId="313"/>
          <pc:sldLayoutMkLst>
            <pc:docMk/>
            <pc:sldMasterMk cId="344016572" sldId="2147483648"/>
            <pc:sldLayoutMk cId="1031010690" sldId="2147483654"/>
          </pc:sldLayoutMkLst>
          <pc:spChg chg="mod">
            <ac:chgData name="Hesse, Thomas Dr." userId="661ed4e0-7782-4a1c-9bc8-dd191b47db53" providerId="ADAL" clId="{ECEC1DAD-872C-4AE4-93B1-14CD65D425A7}" dt="2023-06-08T06:02:44.938" v="267" actId="313"/>
            <ac:spMkLst>
              <pc:docMk/>
              <pc:sldMasterMk cId="344016572" sldId="2147483648"/>
              <pc:sldLayoutMk cId="1031010690" sldId="2147483654"/>
              <ac:spMk id="5" creationId="{2FE804F9-626A-46E9-9608-08B25EE71066}"/>
            </ac:spMkLst>
          </pc:spChg>
        </pc:sldLayoutChg>
        <pc:sldLayoutChg chg="modSp mod">
          <pc:chgData name="Hesse, Thomas Dr." userId="661ed4e0-7782-4a1c-9bc8-dd191b47db53" providerId="ADAL" clId="{ECEC1DAD-872C-4AE4-93B1-14CD65D425A7}" dt="2023-06-08T06:02:47.693" v="274" actId="313"/>
          <pc:sldLayoutMkLst>
            <pc:docMk/>
            <pc:sldMasterMk cId="344016572" sldId="2147483648"/>
            <pc:sldLayoutMk cId="529598353" sldId="2147483655"/>
          </pc:sldLayoutMkLst>
          <pc:spChg chg="mod">
            <ac:chgData name="Hesse, Thomas Dr." userId="661ed4e0-7782-4a1c-9bc8-dd191b47db53" providerId="ADAL" clId="{ECEC1DAD-872C-4AE4-93B1-14CD65D425A7}" dt="2023-06-08T06:02:47.693" v="274" actId="313"/>
            <ac:spMkLst>
              <pc:docMk/>
              <pc:sldMasterMk cId="344016572" sldId="2147483648"/>
              <pc:sldLayoutMk cId="529598353" sldId="2147483655"/>
              <ac:spMk id="5" creationId="{D156B0D9-175F-4D3C-AD38-24B1C4643E7E}"/>
            </ac:spMkLst>
          </pc:spChg>
        </pc:sldLayoutChg>
        <pc:sldLayoutChg chg="modSp mod">
          <pc:chgData name="Hesse, Thomas Dr." userId="661ed4e0-7782-4a1c-9bc8-dd191b47db53" providerId="ADAL" clId="{ECEC1DAD-872C-4AE4-93B1-14CD65D425A7}" dt="2023-06-08T06:02:45.322" v="268" actId="313"/>
          <pc:sldLayoutMkLst>
            <pc:docMk/>
            <pc:sldMasterMk cId="344016572" sldId="2147483648"/>
            <pc:sldLayoutMk cId="694550208" sldId="2147483656"/>
          </pc:sldLayoutMkLst>
          <pc:spChg chg="mod">
            <ac:chgData name="Hesse, Thomas Dr." userId="661ed4e0-7782-4a1c-9bc8-dd191b47db53" providerId="ADAL" clId="{ECEC1DAD-872C-4AE4-93B1-14CD65D425A7}" dt="2023-06-08T06:02:45.322" v="268" actId="313"/>
            <ac:spMkLst>
              <pc:docMk/>
              <pc:sldMasterMk cId="344016572" sldId="2147483648"/>
              <pc:sldLayoutMk cId="694550208" sldId="2147483656"/>
              <ac:spMk id="5" creationId="{D156B0D9-175F-4D3C-AD38-24B1C4643E7E}"/>
            </ac:spMkLst>
          </pc:spChg>
        </pc:sldLayoutChg>
        <pc:sldLayoutChg chg="modSp mod">
          <pc:chgData name="Hesse, Thomas Dr." userId="661ed4e0-7782-4a1c-9bc8-dd191b47db53" providerId="ADAL" clId="{ECEC1DAD-872C-4AE4-93B1-14CD65D425A7}" dt="2023-06-08T06:02:52.919" v="286" actId="313"/>
          <pc:sldLayoutMkLst>
            <pc:docMk/>
            <pc:sldMasterMk cId="344016572" sldId="2147483648"/>
            <pc:sldLayoutMk cId="612121336" sldId="2147483661"/>
          </pc:sldLayoutMkLst>
          <pc:spChg chg="mod">
            <ac:chgData name="Hesse, Thomas Dr." userId="661ed4e0-7782-4a1c-9bc8-dd191b47db53" providerId="ADAL" clId="{ECEC1DAD-872C-4AE4-93B1-14CD65D425A7}" dt="2023-06-08T06:02:52.919" v="286" actId="313"/>
            <ac:spMkLst>
              <pc:docMk/>
              <pc:sldMasterMk cId="344016572" sldId="2147483648"/>
              <pc:sldLayoutMk cId="612121336" sldId="2147483661"/>
              <ac:spMk id="4" creationId="{1FB1A0B7-E138-4F61-A505-E5364B0A470A}"/>
            </ac:spMkLst>
          </pc:spChg>
        </pc:sldLayoutChg>
        <pc:sldLayoutChg chg="modSp mod">
          <pc:chgData name="Hesse, Thomas Dr." userId="661ed4e0-7782-4a1c-9bc8-dd191b47db53" providerId="ADAL" clId="{ECEC1DAD-872C-4AE4-93B1-14CD65D425A7}" dt="2023-06-08T06:02:53.394" v="287" actId="313"/>
          <pc:sldLayoutMkLst>
            <pc:docMk/>
            <pc:sldMasterMk cId="344016572" sldId="2147483648"/>
            <pc:sldLayoutMk cId="1641097011" sldId="2147483662"/>
          </pc:sldLayoutMkLst>
          <pc:spChg chg="mod">
            <ac:chgData name="Hesse, Thomas Dr." userId="661ed4e0-7782-4a1c-9bc8-dd191b47db53" providerId="ADAL" clId="{ECEC1DAD-872C-4AE4-93B1-14CD65D425A7}" dt="2023-06-08T06:02:53.394" v="287" actId="313"/>
            <ac:spMkLst>
              <pc:docMk/>
              <pc:sldMasterMk cId="344016572" sldId="2147483648"/>
              <pc:sldLayoutMk cId="1641097011" sldId="2147483662"/>
              <ac:spMk id="4" creationId="{DA34A9FF-85A5-4AE6-9F3C-F4E9F2BFFE80}"/>
            </ac:spMkLst>
          </pc:spChg>
        </pc:sldLayoutChg>
        <pc:sldLayoutChg chg="modSp mod">
          <pc:chgData name="Hesse, Thomas Dr." userId="661ed4e0-7782-4a1c-9bc8-dd191b47db53" providerId="ADAL" clId="{ECEC1DAD-872C-4AE4-93B1-14CD65D425A7}" dt="2023-06-08T06:02:52.049" v="284" actId="313"/>
          <pc:sldLayoutMkLst>
            <pc:docMk/>
            <pc:sldMasterMk cId="344016572" sldId="2147483648"/>
            <pc:sldLayoutMk cId="4272180520" sldId="2147483663"/>
          </pc:sldLayoutMkLst>
          <pc:spChg chg="mod">
            <ac:chgData name="Hesse, Thomas Dr." userId="661ed4e0-7782-4a1c-9bc8-dd191b47db53" providerId="ADAL" clId="{ECEC1DAD-872C-4AE4-93B1-14CD65D425A7}" dt="2023-06-08T06:02:52.049" v="284" actId="313"/>
            <ac:spMkLst>
              <pc:docMk/>
              <pc:sldMasterMk cId="344016572" sldId="2147483648"/>
              <pc:sldLayoutMk cId="4272180520" sldId="2147483663"/>
              <ac:spMk id="4" creationId="{F5DEA211-5BD7-4858-87F2-0AA1AD6ACAF1}"/>
            </ac:spMkLst>
          </pc:spChg>
        </pc:sldLayoutChg>
        <pc:sldLayoutChg chg="modSp mod">
          <pc:chgData name="Hesse, Thomas Dr." userId="661ed4e0-7782-4a1c-9bc8-dd191b47db53" providerId="ADAL" clId="{ECEC1DAD-872C-4AE4-93B1-14CD65D425A7}" dt="2023-06-08T06:02:52.486" v="285" actId="313"/>
          <pc:sldLayoutMkLst>
            <pc:docMk/>
            <pc:sldMasterMk cId="344016572" sldId="2147483648"/>
            <pc:sldLayoutMk cId="2076741912" sldId="2147483668"/>
          </pc:sldLayoutMkLst>
          <pc:spChg chg="mod">
            <ac:chgData name="Hesse, Thomas Dr." userId="661ed4e0-7782-4a1c-9bc8-dd191b47db53" providerId="ADAL" clId="{ECEC1DAD-872C-4AE4-93B1-14CD65D425A7}" dt="2023-06-08T06:02:52.486" v="285" actId="313"/>
            <ac:spMkLst>
              <pc:docMk/>
              <pc:sldMasterMk cId="344016572" sldId="2147483648"/>
              <pc:sldLayoutMk cId="2076741912" sldId="2147483668"/>
              <ac:spMk id="4" creationId="{F5DEA211-5BD7-4858-87F2-0AA1AD6ACAF1}"/>
            </ac:spMkLst>
          </pc:spChg>
        </pc:sldLayoutChg>
        <pc:sldLayoutChg chg="modSp mod">
          <pc:chgData name="Hesse, Thomas Dr." userId="661ed4e0-7782-4a1c-9bc8-dd191b47db53" providerId="ADAL" clId="{ECEC1DAD-872C-4AE4-93B1-14CD65D425A7}" dt="2023-06-08T06:02:49.391" v="278" actId="313"/>
          <pc:sldLayoutMkLst>
            <pc:docMk/>
            <pc:sldMasterMk cId="344016572" sldId="2147483648"/>
            <pc:sldLayoutMk cId="2815213893" sldId="2147483670"/>
          </pc:sldLayoutMkLst>
          <pc:spChg chg="mod">
            <ac:chgData name="Hesse, Thomas Dr." userId="661ed4e0-7782-4a1c-9bc8-dd191b47db53" providerId="ADAL" clId="{ECEC1DAD-872C-4AE4-93B1-14CD65D425A7}" dt="2023-06-08T06:02:49.391" v="278" actId="313"/>
            <ac:spMkLst>
              <pc:docMk/>
              <pc:sldMasterMk cId="344016572" sldId="2147483648"/>
              <pc:sldLayoutMk cId="2815213893" sldId="2147483670"/>
              <ac:spMk id="3" creationId="{6DFF7D27-B8CB-4095-BFC7-B455915022D0}"/>
            </ac:spMkLst>
          </pc:spChg>
        </pc:sldLayoutChg>
        <pc:sldLayoutChg chg="modSp mod">
          <pc:chgData name="Hesse, Thomas Dr." userId="661ed4e0-7782-4a1c-9bc8-dd191b47db53" providerId="ADAL" clId="{ECEC1DAD-872C-4AE4-93B1-14CD65D425A7}" dt="2023-06-08T06:02:49.792" v="279" actId="313"/>
          <pc:sldLayoutMkLst>
            <pc:docMk/>
            <pc:sldMasterMk cId="344016572" sldId="2147483648"/>
            <pc:sldLayoutMk cId="3910805892" sldId="2147483671"/>
          </pc:sldLayoutMkLst>
          <pc:spChg chg="mod">
            <ac:chgData name="Hesse, Thomas Dr." userId="661ed4e0-7782-4a1c-9bc8-dd191b47db53" providerId="ADAL" clId="{ECEC1DAD-872C-4AE4-93B1-14CD65D425A7}" dt="2023-06-08T06:02:49.792" v="279" actId="313"/>
            <ac:spMkLst>
              <pc:docMk/>
              <pc:sldMasterMk cId="344016572" sldId="2147483648"/>
              <pc:sldLayoutMk cId="3910805892" sldId="2147483671"/>
              <ac:spMk id="3" creationId="{F4516CDA-F1F2-4208-94F3-F268851186D4}"/>
            </ac:spMkLst>
          </pc:spChg>
        </pc:sldLayoutChg>
        <pc:sldLayoutChg chg="modSp mod">
          <pc:chgData name="Hesse, Thomas Dr." userId="661ed4e0-7782-4a1c-9bc8-dd191b47db53" providerId="ADAL" clId="{ECEC1DAD-872C-4AE4-93B1-14CD65D425A7}" dt="2023-06-08T06:02:51.218" v="282" actId="313"/>
          <pc:sldLayoutMkLst>
            <pc:docMk/>
            <pc:sldMasterMk cId="344016572" sldId="2147483648"/>
            <pc:sldLayoutMk cId="2179294819" sldId="2147483672"/>
          </pc:sldLayoutMkLst>
          <pc:spChg chg="mod">
            <ac:chgData name="Hesse, Thomas Dr." userId="661ed4e0-7782-4a1c-9bc8-dd191b47db53" providerId="ADAL" clId="{ECEC1DAD-872C-4AE4-93B1-14CD65D425A7}" dt="2023-06-08T06:02:51.218" v="282" actId="313"/>
            <ac:spMkLst>
              <pc:docMk/>
              <pc:sldMasterMk cId="344016572" sldId="2147483648"/>
              <pc:sldLayoutMk cId="2179294819" sldId="2147483672"/>
              <ac:spMk id="3" creationId="{27A3048A-F4AB-4310-B65E-D9B67C896310}"/>
            </ac:spMkLst>
          </pc:spChg>
        </pc:sldLayoutChg>
        <pc:sldLayoutChg chg="modSp mod">
          <pc:chgData name="Hesse, Thomas Dr." userId="661ed4e0-7782-4a1c-9bc8-dd191b47db53" providerId="ADAL" clId="{ECEC1DAD-872C-4AE4-93B1-14CD65D425A7}" dt="2023-06-08T06:02:51.639" v="283" actId="313"/>
          <pc:sldLayoutMkLst>
            <pc:docMk/>
            <pc:sldMasterMk cId="344016572" sldId="2147483648"/>
            <pc:sldLayoutMk cId="690894864" sldId="2147483673"/>
          </pc:sldLayoutMkLst>
          <pc:spChg chg="mod">
            <ac:chgData name="Hesse, Thomas Dr." userId="661ed4e0-7782-4a1c-9bc8-dd191b47db53" providerId="ADAL" clId="{ECEC1DAD-872C-4AE4-93B1-14CD65D425A7}" dt="2023-06-08T06:02:51.639" v="283" actId="313"/>
            <ac:spMkLst>
              <pc:docMk/>
              <pc:sldMasterMk cId="344016572" sldId="2147483648"/>
              <pc:sldLayoutMk cId="690894864" sldId="2147483673"/>
              <ac:spMk id="3" creationId="{1348595E-6CDC-4946-941D-F91BF4132354}"/>
            </ac:spMkLst>
          </pc:spChg>
        </pc:sldLayoutChg>
        <pc:sldLayoutChg chg="modSp mod">
          <pc:chgData name="Hesse, Thomas Dr." userId="661ed4e0-7782-4a1c-9bc8-dd191b47db53" providerId="ADAL" clId="{ECEC1DAD-872C-4AE4-93B1-14CD65D425A7}" dt="2023-06-08T06:02:50.735" v="281" actId="313"/>
          <pc:sldLayoutMkLst>
            <pc:docMk/>
            <pc:sldMasterMk cId="344016572" sldId="2147483648"/>
            <pc:sldLayoutMk cId="2421675587" sldId="2147483674"/>
          </pc:sldLayoutMkLst>
          <pc:spChg chg="mod">
            <ac:chgData name="Hesse, Thomas Dr." userId="661ed4e0-7782-4a1c-9bc8-dd191b47db53" providerId="ADAL" clId="{ECEC1DAD-872C-4AE4-93B1-14CD65D425A7}" dt="2023-06-08T06:02:50.735" v="281" actId="313"/>
            <ac:spMkLst>
              <pc:docMk/>
              <pc:sldMasterMk cId="344016572" sldId="2147483648"/>
              <pc:sldLayoutMk cId="2421675587" sldId="2147483674"/>
              <ac:spMk id="3" creationId="{9CE55C7B-E316-4E16-B76D-ECEF793CC2C2}"/>
            </ac:spMkLst>
          </pc:spChg>
        </pc:sldLayoutChg>
        <pc:sldLayoutChg chg="modSp mod">
          <pc:chgData name="Hesse, Thomas Dr." userId="661ed4e0-7782-4a1c-9bc8-dd191b47db53" providerId="ADAL" clId="{ECEC1DAD-872C-4AE4-93B1-14CD65D425A7}" dt="2023-06-08T06:02:50.188" v="280" actId="313"/>
          <pc:sldLayoutMkLst>
            <pc:docMk/>
            <pc:sldMasterMk cId="344016572" sldId="2147483648"/>
            <pc:sldLayoutMk cId="2878136538" sldId="2147483675"/>
          </pc:sldLayoutMkLst>
          <pc:spChg chg="mod">
            <ac:chgData name="Hesse, Thomas Dr." userId="661ed4e0-7782-4a1c-9bc8-dd191b47db53" providerId="ADAL" clId="{ECEC1DAD-872C-4AE4-93B1-14CD65D425A7}" dt="2023-06-08T06:02:50.188" v="280" actId="313"/>
            <ac:spMkLst>
              <pc:docMk/>
              <pc:sldMasterMk cId="344016572" sldId="2147483648"/>
              <pc:sldLayoutMk cId="2878136538" sldId="2147483675"/>
              <ac:spMk id="3" creationId="{46E38119-9F70-498B-A240-B89F427F21E8}"/>
            </ac:spMkLst>
          </pc:spChg>
        </pc:sldLayoutChg>
        <pc:sldLayoutChg chg="modSp mod">
          <pc:chgData name="Hesse, Thomas Dr." userId="661ed4e0-7782-4a1c-9bc8-dd191b47db53" providerId="ADAL" clId="{ECEC1DAD-872C-4AE4-93B1-14CD65D425A7}" dt="2023-06-08T06:02:48.569" v="276" actId="313"/>
          <pc:sldLayoutMkLst>
            <pc:docMk/>
            <pc:sldMasterMk cId="344016572" sldId="2147483648"/>
            <pc:sldLayoutMk cId="565268052" sldId="2147483676"/>
          </pc:sldLayoutMkLst>
          <pc:spChg chg="mod">
            <ac:chgData name="Hesse, Thomas Dr." userId="661ed4e0-7782-4a1c-9bc8-dd191b47db53" providerId="ADAL" clId="{ECEC1DAD-872C-4AE4-93B1-14CD65D425A7}" dt="2023-06-08T06:02:48.569" v="276" actId="313"/>
            <ac:spMkLst>
              <pc:docMk/>
              <pc:sldMasterMk cId="344016572" sldId="2147483648"/>
              <pc:sldLayoutMk cId="565268052" sldId="2147483676"/>
              <ac:spMk id="3" creationId="{8E2F82FC-C35F-46ED-AD87-89B2614658BB}"/>
            </ac:spMkLst>
          </pc:spChg>
        </pc:sldLayoutChg>
        <pc:sldLayoutChg chg="modSp mod">
          <pc:chgData name="Hesse, Thomas Dr." userId="661ed4e0-7782-4a1c-9bc8-dd191b47db53" providerId="ADAL" clId="{ECEC1DAD-872C-4AE4-93B1-14CD65D425A7}" dt="2023-06-08T06:02:49.079" v="277" actId="313"/>
          <pc:sldLayoutMkLst>
            <pc:docMk/>
            <pc:sldMasterMk cId="344016572" sldId="2147483648"/>
            <pc:sldLayoutMk cId="316976075" sldId="2147483678"/>
          </pc:sldLayoutMkLst>
          <pc:spChg chg="mod">
            <ac:chgData name="Hesse, Thomas Dr." userId="661ed4e0-7782-4a1c-9bc8-dd191b47db53" providerId="ADAL" clId="{ECEC1DAD-872C-4AE4-93B1-14CD65D425A7}" dt="2023-06-08T06:02:49.079" v="277" actId="313"/>
            <ac:spMkLst>
              <pc:docMk/>
              <pc:sldMasterMk cId="344016572" sldId="2147483648"/>
              <pc:sldLayoutMk cId="316976075" sldId="2147483678"/>
              <ac:spMk id="3" creationId="{77C59253-450D-4234-A5AF-24D980F9AE0A}"/>
            </ac:spMkLst>
          </pc:spChg>
        </pc:sldLayoutChg>
        <pc:sldLayoutChg chg="modSp mod">
          <pc:chgData name="Hesse, Thomas Dr." userId="661ed4e0-7782-4a1c-9bc8-dd191b47db53" providerId="ADAL" clId="{ECEC1DAD-872C-4AE4-93B1-14CD65D425A7}" dt="2023-06-08T06:02:45.758" v="269" actId="313"/>
          <pc:sldLayoutMkLst>
            <pc:docMk/>
            <pc:sldMasterMk cId="344016572" sldId="2147483648"/>
            <pc:sldLayoutMk cId="872386512" sldId="2147483680"/>
          </pc:sldLayoutMkLst>
          <pc:spChg chg="mod">
            <ac:chgData name="Hesse, Thomas Dr." userId="661ed4e0-7782-4a1c-9bc8-dd191b47db53" providerId="ADAL" clId="{ECEC1DAD-872C-4AE4-93B1-14CD65D425A7}" dt="2023-06-08T06:02:45.758" v="269" actId="313"/>
            <ac:spMkLst>
              <pc:docMk/>
              <pc:sldMasterMk cId="344016572" sldId="2147483648"/>
              <pc:sldLayoutMk cId="872386512" sldId="2147483680"/>
              <ac:spMk id="5" creationId="{D156B0D9-175F-4D3C-AD38-24B1C4643E7E}"/>
            </ac:spMkLst>
          </pc:spChg>
        </pc:sldLayoutChg>
        <pc:sldLayoutChg chg="modSp mod">
          <pc:chgData name="Hesse, Thomas Dr." userId="661ed4e0-7782-4a1c-9bc8-dd191b47db53" providerId="ADAL" clId="{ECEC1DAD-872C-4AE4-93B1-14CD65D425A7}" dt="2023-06-08T06:02:43.376" v="263" actId="313"/>
          <pc:sldLayoutMkLst>
            <pc:docMk/>
            <pc:sldMasterMk cId="344016572" sldId="2147483648"/>
            <pc:sldLayoutMk cId="1251196219" sldId="2147483683"/>
          </pc:sldLayoutMkLst>
          <pc:spChg chg="mod">
            <ac:chgData name="Hesse, Thomas Dr." userId="661ed4e0-7782-4a1c-9bc8-dd191b47db53" providerId="ADAL" clId="{ECEC1DAD-872C-4AE4-93B1-14CD65D425A7}" dt="2023-06-08T06:02:43.376" v="263" actId="313"/>
            <ac:spMkLst>
              <pc:docMk/>
              <pc:sldMasterMk cId="344016572" sldId="2147483648"/>
              <pc:sldLayoutMk cId="1251196219" sldId="2147483683"/>
              <ac:spMk id="5" creationId="{2FE804F9-626A-46E9-9608-08B25EE71066}"/>
            </ac:spMkLst>
          </pc:spChg>
        </pc:sldLayoutChg>
        <pc:sldLayoutChg chg="modSp mod">
          <pc:chgData name="Hesse, Thomas Dr." userId="661ed4e0-7782-4a1c-9bc8-dd191b47db53" providerId="ADAL" clId="{ECEC1DAD-872C-4AE4-93B1-14CD65D425A7}" dt="2023-06-08T06:02:46.173" v="270" actId="313"/>
          <pc:sldLayoutMkLst>
            <pc:docMk/>
            <pc:sldMasterMk cId="344016572" sldId="2147483648"/>
            <pc:sldLayoutMk cId="972576879" sldId="2147483685"/>
          </pc:sldLayoutMkLst>
          <pc:spChg chg="mod">
            <ac:chgData name="Hesse, Thomas Dr." userId="661ed4e0-7782-4a1c-9bc8-dd191b47db53" providerId="ADAL" clId="{ECEC1DAD-872C-4AE4-93B1-14CD65D425A7}" dt="2023-06-08T06:02:46.173" v="270" actId="313"/>
            <ac:spMkLst>
              <pc:docMk/>
              <pc:sldMasterMk cId="344016572" sldId="2147483648"/>
              <pc:sldLayoutMk cId="972576879" sldId="2147483685"/>
              <ac:spMk id="5" creationId="{D156B0D9-175F-4D3C-AD38-24B1C4643E7E}"/>
            </ac:spMkLst>
          </pc:spChg>
        </pc:sldLayoutChg>
        <pc:sldLayoutChg chg="modSp mod">
          <pc:chgData name="Hesse, Thomas Dr." userId="661ed4e0-7782-4a1c-9bc8-dd191b47db53" providerId="ADAL" clId="{ECEC1DAD-872C-4AE4-93B1-14CD65D425A7}" dt="2023-06-08T06:02:46.519" v="271" actId="313"/>
          <pc:sldLayoutMkLst>
            <pc:docMk/>
            <pc:sldMasterMk cId="344016572" sldId="2147483648"/>
            <pc:sldLayoutMk cId="3777998082" sldId="2147483686"/>
          </pc:sldLayoutMkLst>
          <pc:spChg chg="mod">
            <ac:chgData name="Hesse, Thomas Dr." userId="661ed4e0-7782-4a1c-9bc8-dd191b47db53" providerId="ADAL" clId="{ECEC1DAD-872C-4AE4-93B1-14CD65D425A7}" dt="2023-06-08T06:02:46.519" v="271" actId="313"/>
            <ac:spMkLst>
              <pc:docMk/>
              <pc:sldMasterMk cId="344016572" sldId="2147483648"/>
              <pc:sldLayoutMk cId="3777998082" sldId="2147483686"/>
              <ac:spMk id="5" creationId="{D156B0D9-175F-4D3C-AD38-24B1C4643E7E}"/>
            </ac:spMkLst>
          </pc:spChg>
        </pc:sldLayoutChg>
        <pc:sldLayoutChg chg="modSp mod">
          <pc:chgData name="Hesse, Thomas Dr." userId="661ed4e0-7782-4a1c-9bc8-dd191b47db53" providerId="ADAL" clId="{ECEC1DAD-872C-4AE4-93B1-14CD65D425A7}" dt="2023-06-08T06:02:46.888" v="272" actId="313"/>
          <pc:sldLayoutMkLst>
            <pc:docMk/>
            <pc:sldMasterMk cId="344016572" sldId="2147483648"/>
            <pc:sldLayoutMk cId="3854316093" sldId="2147483687"/>
          </pc:sldLayoutMkLst>
          <pc:spChg chg="mod">
            <ac:chgData name="Hesse, Thomas Dr." userId="661ed4e0-7782-4a1c-9bc8-dd191b47db53" providerId="ADAL" clId="{ECEC1DAD-872C-4AE4-93B1-14CD65D425A7}" dt="2023-06-08T06:02:46.888" v="272" actId="313"/>
            <ac:spMkLst>
              <pc:docMk/>
              <pc:sldMasterMk cId="344016572" sldId="2147483648"/>
              <pc:sldLayoutMk cId="3854316093" sldId="2147483687"/>
              <ac:spMk id="5" creationId="{D156B0D9-175F-4D3C-AD38-24B1C4643E7E}"/>
            </ac:spMkLst>
          </pc:spChg>
        </pc:sldLayoutChg>
        <pc:sldLayoutChg chg="modSp mod">
          <pc:chgData name="Hesse, Thomas Dr." userId="661ed4e0-7782-4a1c-9bc8-dd191b47db53" providerId="ADAL" clId="{ECEC1DAD-872C-4AE4-93B1-14CD65D425A7}" dt="2023-06-08T06:02:43.807" v="264" actId="313"/>
          <pc:sldLayoutMkLst>
            <pc:docMk/>
            <pc:sldMasterMk cId="344016572" sldId="2147483648"/>
            <pc:sldLayoutMk cId="3611127776" sldId="2147483688"/>
          </pc:sldLayoutMkLst>
          <pc:spChg chg="mod">
            <ac:chgData name="Hesse, Thomas Dr." userId="661ed4e0-7782-4a1c-9bc8-dd191b47db53" providerId="ADAL" clId="{ECEC1DAD-872C-4AE4-93B1-14CD65D425A7}" dt="2023-06-08T06:02:43.807" v="264" actId="313"/>
            <ac:spMkLst>
              <pc:docMk/>
              <pc:sldMasterMk cId="344016572" sldId="2147483648"/>
              <pc:sldLayoutMk cId="3611127776" sldId="2147483688"/>
              <ac:spMk id="5" creationId="{2FE804F9-626A-46E9-9608-08B25EE71066}"/>
            </ac:spMkLst>
          </pc:spChg>
        </pc:sldLayoutChg>
        <pc:sldLayoutChg chg="modSp mod">
          <pc:chgData name="Hesse, Thomas Dr." userId="661ed4e0-7782-4a1c-9bc8-dd191b47db53" providerId="ADAL" clId="{ECEC1DAD-872C-4AE4-93B1-14CD65D425A7}" dt="2023-06-08T06:02:44.182" v="265" actId="313"/>
          <pc:sldLayoutMkLst>
            <pc:docMk/>
            <pc:sldMasterMk cId="344016572" sldId="2147483648"/>
            <pc:sldLayoutMk cId="991349788" sldId="2147483689"/>
          </pc:sldLayoutMkLst>
          <pc:spChg chg="mod">
            <ac:chgData name="Hesse, Thomas Dr." userId="661ed4e0-7782-4a1c-9bc8-dd191b47db53" providerId="ADAL" clId="{ECEC1DAD-872C-4AE4-93B1-14CD65D425A7}" dt="2023-06-08T06:02:44.182" v="265" actId="313"/>
            <ac:spMkLst>
              <pc:docMk/>
              <pc:sldMasterMk cId="344016572" sldId="2147483648"/>
              <pc:sldLayoutMk cId="991349788" sldId="2147483689"/>
              <ac:spMk id="5" creationId="{2FE804F9-626A-46E9-9608-08B25EE71066}"/>
            </ac:spMkLst>
          </pc:spChg>
        </pc:sldLayoutChg>
        <pc:sldLayoutChg chg="modSp mod">
          <pc:chgData name="Hesse, Thomas Dr." userId="661ed4e0-7782-4a1c-9bc8-dd191b47db53" providerId="ADAL" clId="{ECEC1DAD-872C-4AE4-93B1-14CD65D425A7}" dt="2023-06-08T06:02:44.558" v="266" actId="313"/>
          <pc:sldLayoutMkLst>
            <pc:docMk/>
            <pc:sldMasterMk cId="344016572" sldId="2147483648"/>
            <pc:sldLayoutMk cId="1385487563" sldId="2147483690"/>
          </pc:sldLayoutMkLst>
          <pc:spChg chg="mod">
            <ac:chgData name="Hesse, Thomas Dr." userId="661ed4e0-7782-4a1c-9bc8-dd191b47db53" providerId="ADAL" clId="{ECEC1DAD-872C-4AE4-93B1-14CD65D425A7}" dt="2023-06-08T06:02:44.558" v="266" actId="313"/>
            <ac:spMkLst>
              <pc:docMk/>
              <pc:sldMasterMk cId="344016572" sldId="2147483648"/>
              <pc:sldLayoutMk cId="1385487563" sldId="2147483690"/>
              <ac:spMk id="5" creationId="{2FE804F9-626A-46E9-9608-08B25EE71066}"/>
            </ac:spMkLst>
          </pc:spChg>
        </pc:sldLayoutChg>
        <pc:sldLayoutChg chg="modSp mod">
          <pc:chgData name="Hesse, Thomas Dr." userId="661ed4e0-7782-4a1c-9bc8-dd191b47db53" providerId="ADAL" clId="{ECEC1DAD-872C-4AE4-93B1-14CD65D425A7}" dt="2023-06-08T06:02:53.889" v="288" actId="313"/>
          <pc:sldLayoutMkLst>
            <pc:docMk/>
            <pc:sldMasterMk cId="344016572" sldId="2147483648"/>
            <pc:sldLayoutMk cId="3314790145" sldId="2147483787"/>
          </pc:sldLayoutMkLst>
          <pc:spChg chg="mod">
            <ac:chgData name="Hesse, Thomas Dr." userId="661ed4e0-7782-4a1c-9bc8-dd191b47db53" providerId="ADAL" clId="{ECEC1DAD-872C-4AE4-93B1-14CD65D425A7}" dt="2023-06-08T06:02:53.889" v="288" actId="313"/>
            <ac:spMkLst>
              <pc:docMk/>
              <pc:sldMasterMk cId="344016572" sldId="2147483648"/>
              <pc:sldLayoutMk cId="3314790145" sldId="2147483787"/>
              <ac:spMk id="4" creationId="{25C7DEFD-1ABE-4CE2-A3B3-85A9E0AB7A3A}"/>
            </ac:spMkLst>
          </pc:spChg>
        </pc:sldLayoutChg>
        <pc:sldLayoutChg chg="modSp mod">
          <pc:chgData name="Hesse, Thomas Dr." userId="661ed4e0-7782-4a1c-9bc8-dd191b47db53" providerId="ADAL" clId="{ECEC1DAD-872C-4AE4-93B1-14CD65D425A7}" dt="2023-06-08T06:02:54.349" v="289" actId="313"/>
          <pc:sldLayoutMkLst>
            <pc:docMk/>
            <pc:sldMasterMk cId="344016572" sldId="2147483648"/>
            <pc:sldLayoutMk cId="4057209764" sldId="2147483788"/>
          </pc:sldLayoutMkLst>
          <pc:spChg chg="mod">
            <ac:chgData name="Hesse, Thomas Dr." userId="661ed4e0-7782-4a1c-9bc8-dd191b47db53" providerId="ADAL" clId="{ECEC1DAD-872C-4AE4-93B1-14CD65D425A7}" dt="2023-06-08T06:02:54.349" v="289" actId="313"/>
            <ac:spMkLst>
              <pc:docMk/>
              <pc:sldMasterMk cId="344016572" sldId="2147483648"/>
              <pc:sldLayoutMk cId="4057209764" sldId="2147483788"/>
              <ac:spMk id="4" creationId="{CEF21442-1C4F-42B0-B924-83BE44F48063}"/>
            </ac:spMkLst>
          </pc:spChg>
        </pc:sldLayoutChg>
      </pc:sldMasterChg>
    </pc:docChg>
  </pc:docChgLst>
  <pc:docChgLst>
    <pc:chgData name="Morley, Karl" userId="S::ukkzm@softwareag.com::3017fb84-3150-483b-95d1-214276260522" providerId="AD" clId="Web-{83194DB0-2E08-73FE-FCC1-0B186F7A2EF6}"/>
    <pc:docChg chg="mod modMainMaster">
      <pc:chgData name="Morley, Karl" userId="S::ukkzm@softwareag.com::3017fb84-3150-483b-95d1-214276260522" providerId="AD" clId="Web-{83194DB0-2E08-73FE-FCC1-0B186F7A2EF6}" dt="2024-06-03T09:00:50.930" v="1" actId="33475"/>
      <pc:docMkLst>
        <pc:docMk/>
      </pc:docMkLst>
      <pc:sldMasterChg chg="modSp">
        <pc:chgData name="Morley, Karl" userId="S::ukkzm@softwareag.com::3017fb84-3150-483b-95d1-214276260522" providerId="AD" clId="Web-{83194DB0-2E08-73FE-FCC1-0B186F7A2EF6}" dt="2024-06-03T09:00:50.930" v="0" actId="33475"/>
        <pc:sldMasterMkLst>
          <pc:docMk/>
          <pc:sldMasterMk cId="344016572" sldId="2147483648"/>
        </pc:sldMasterMkLst>
        <pc:spChg chg="mod">
          <ac:chgData name="Morley, Karl" userId="S::ukkzm@softwareag.com::3017fb84-3150-483b-95d1-214276260522" providerId="AD" clId="Web-{83194DB0-2E08-73FE-FCC1-0B186F7A2EF6}" dt="2024-06-03T09:00:50.930" v="0" actId="33475"/>
          <ac:spMkLst>
            <pc:docMk/>
            <pc:sldMasterMk cId="344016572" sldId="2147483648"/>
            <ac:spMk id="8" creationId="{853D2FA9-F740-4F89-9B50-FE736460AC37}"/>
          </ac:spMkLst>
        </pc:spChg>
      </pc:sldMasterChg>
    </pc:docChg>
  </pc:docChgLst>
  <pc:docChgLst>
    <pc:chgData name="Hesse, Thomas Dr." userId="661ed4e0-7782-4a1c-9bc8-dd191b47db53" providerId="ADAL" clId="{C7B830A9-0123-4835-A836-7B72F5B1B7D9}"/>
    <pc:docChg chg="undo redo custSel addSld delSld modSld sldOrd modMainMaster modSection replTag delTag">
      <pc:chgData name="Hesse, Thomas Dr." userId="661ed4e0-7782-4a1c-9bc8-dd191b47db53" providerId="ADAL" clId="{C7B830A9-0123-4835-A836-7B72F5B1B7D9}" dt="2024-06-06T07:43:01.913" v="12104" actId="732"/>
      <pc:docMkLst>
        <pc:docMk/>
      </pc:docMkLst>
      <pc:sldChg chg="modSp add del mod ord">
        <pc:chgData name="Hesse, Thomas Dr." userId="661ed4e0-7782-4a1c-9bc8-dd191b47db53" providerId="ADAL" clId="{C7B830A9-0123-4835-A836-7B72F5B1B7D9}" dt="2024-06-05T16:32:29.640" v="11373" actId="47"/>
        <pc:sldMkLst>
          <pc:docMk/>
          <pc:sldMk cId="815650229" sldId="275"/>
        </pc:sldMkLst>
        <pc:spChg chg="mod">
          <ac:chgData name="Hesse, Thomas Dr." userId="661ed4e0-7782-4a1c-9bc8-dd191b47db53" providerId="ADAL" clId="{C7B830A9-0123-4835-A836-7B72F5B1B7D9}" dt="2024-06-05T13:26:06.103" v="6395" actId="313"/>
          <ac:spMkLst>
            <pc:docMk/>
            <pc:sldMk cId="815650229" sldId="275"/>
            <ac:spMk id="2" creationId="{850E30F2-687B-486B-87B1-96F560D70384}"/>
          </ac:spMkLst>
        </pc:spChg>
      </pc:sldChg>
      <pc:sldChg chg="modSp mod">
        <pc:chgData name="Hesse, Thomas Dr." userId="661ed4e0-7782-4a1c-9bc8-dd191b47db53" providerId="ADAL" clId="{C7B830A9-0123-4835-A836-7B72F5B1B7D9}" dt="2024-06-05T13:26:30.145" v="6429" actId="313"/>
        <pc:sldMkLst>
          <pc:docMk/>
          <pc:sldMk cId="4451349" sldId="276"/>
        </pc:sldMkLst>
        <pc:spChg chg="mod">
          <ac:chgData name="Hesse, Thomas Dr." userId="661ed4e0-7782-4a1c-9bc8-dd191b47db53" providerId="ADAL" clId="{C7B830A9-0123-4835-A836-7B72F5B1B7D9}" dt="2024-06-05T13:26:30.145" v="6429" actId="313"/>
          <ac:spMkLst>
            <pc:docMk/>
            <pc:sldMk cId="4451349" sldId="276"/>
            <ac:spMk id="6" creationId="{F9A04536-FD64-472F-9847-B298D615A9A2}"/>
          </ac:spMkLst>
        </pc:spChg>
        <pc:spChg chg="mod">
          <ac:chgData name="Hesse, Thomas Dr." userId="661ed4e0-7782-4a1c-9bc8-dd191b47db53" providerId="ADAL" clId="{C7B830A9-0123-4835-A836-7B72F5B1B7D9}" dt="2024-06-05T13:25:29.305" v="6364" actId="20577"/>
          <ac:spMkLst>
            <pc:docMk/>
            <pc:sldMk cId="4451349" sldId="276"/>
            <ac:spMk id="9" creationId="{BB892D79-A5D8-43B4-9472-9A251F332F61}"/>
          </ac:spMkLst>
        </pc:spChg>
      </pc:sldChg>
      <pc:sldChg chg="modSp mod">
        <pc:chgData name="Hesse, Thomas Dr." userId="661ed4e0-7782-4a1c-9bc8-dd191b47db53" providerId="ADAL" clId="{C7B830A9-0123-4835-A836-7B72F5B1B7D9}" dt="2024-06-05T16:45:01.250" v="11600" actId="6549"/>
        <pc:sldMkLst>
          <pc:docMk/>
          <pc:sldMk cId="427152657" sldId="277"/>
        </pc:sldMkLst>
        <pc:spChg chg="mod">
          <ac:chgData name="Hesse, Thomas Dr." userId="661ed4e0-7782-4a1c-9bc8-dd191b47db53" providerId="ADAL" clId="{C7B830A9-0123-4835-A836-7B72F5B1B7D9}" dt="2024-06-05T13:25:44.625" v="6365" actId="313"/>
          <ac:spMkLst>
            <pc:docMk/>
            <pc:sldMk cId="427152657" sldId="277"/>
            <ac:spMk id="2" creationId="{5D202B89-1DDE-4E0B-BDDF-D2C3D3554F60}"/>
          </ac:spMkLst>
        </pc:spChg>
        <pc:graphicFrameChg chg="mod modGraphic">
          <ac:chgData name="Hesse, Thomas Dr." userId="661ed4e0-7782-4a1c-9bc8-dd191b47db53" providerId="ADAL" clId="{C7B830A9-0123-4835-A836-7B72F5B1B7D9}" dt="2024-06-05T16:45:01.250" v="11600" actId="6549"/>
          <ac:graphicFrameMkLst>
            <pc:docMk/>
            <pc:sldMk cId="427152657" sldId="277"/>
            <ac:graphicFrameMk id="22" creationId="{58B20F86-20C2-485E-9B39-401AF0CDB0B0}"/>
          </ac:graphicFrameMkLst>
        </pc:graphicFrameChg>
      </pc:sldChg>
      <pc:sldChg chg="modSp add del mod ord">
        <pc:chgData name="Hesse, Thomas Dr." userId="661ed4e0-7782-4a1c-9bc8-dd191b47db53" providerId="ADAL" clId="{C7B830A9-0123-4835-A836-7B72F5B1B7D9}" dt="2024-06-05T13:32:03.111" v="6589" actId="47"/>
        <pc:sldMkLst>
          <pc:docMk/>
          <pc:sldMk cId="480131662" sldId="369"/>
        </pc:sldMkLst>
        <pc:spChg chg="mod">
          <ac:chgData name="Hesse, Thomas Dr." userId="661ed4e0-7782-4a1c-9bc8-dd191b47db53" providerId="ADAL" clId="{C7B830A9-0123-4835-A836-7B72F5B1B7D9}" dt="2024-06-05T13:26:07.649" v="6397" actId="313"/>
          <ac:spMkLst>
            <pc:docMk/>
            <pc:sldMk cId="480131662" sldId="369"/>
            <ac:spMk id="2" creationId="{28C4EDF1-C76E-4518-A966-C9ADAA263DBE}"/>
          </ac:spMkLst>
        </pc:spChg>
      </pc:sldChg>
      <pc:sldChg chg="modSp add del mod ord">
        <pc:chgData name="Hesse, Thomas Dr." userId="661ed4e0-7782-4a1c-9bc8-dd191b47db53" providerId="ADAL" clId="{C7B830A9-0123-4835-A836-7B72F5B1B7D9}" dt="2024-06-05T13:32:03.111" v="6589" actId="47"/>
        <pc:sldMkLst>
          <pc:docMk/>
          <pc:sldMk cId="3611637881" sldId="370"/>
        </pc:sldMkLst>
        <pc:spChg chg="mod">
          <ac:chgData name="Hesse, Thomas Dr." userId="661ed4e0-7782-4a1c-9bc8-dd191b47db53" providerId="ADAL" clId="{C7B830A9-0123-4835-A836-7B72F5B1B7D9}" dt="2024-06-05T13:26:08.409" v="6398" actId="313"/>
          <ac:spMkLst>
            <pc:docMk/>
            <pc:sldMk cId="3611637881" sldId="370"/>
            <ac:spMk id="2" creationId="{F1C85E08-53A0-452B-808A-ED0F0795B925}"/>
          </ac:spMkLst>
        </pc:spChg>
      </pc:sldChg>
      <pc:sldChg chg="addSp delSp modSp mod ord modAnim">
        <pc:chgData name="Hesse, Thomas Dr." userId="661ed4e0-7782-4a1c-9bc8-dd191b47db53" providerId="ADAL" clId="{C7B830A9-0123-4835-A836-7B72F5B1B7D9}" dt="2024-06-05T16:47:00.804" v="11621"/>
        <pc:sldMkLst>
          <pc:docMk/>
          <pc:sldMk cId="208071715" sldId="373"/>
        </pc:sldMkLst>
        <pc:spChg chg="mod">
          <ac:chgData name="Hesse, Thomas Dr." userId="661ed4e0-7782-4a1c-9bc8-dd191b47db53" providerId="ADAL" clId="{C7B830A9-0123-4835-A836-7B72F5B1B7D9}" dt="2024-06-05T13:26:09.977" v="6400" actId="313"/>
          <ac:spMkLst>
            <pc:docMk/>
            <pc:sldMk cId="208071715" sldId="373"/>
            <ac:spMk id="2" creationId="{1F86711E-92FA-44F4-9894-A93966ED6117}"/>
          </ac:spMkLst>
        </pc:spChg>
        <pc:spChg chg="add mod">
          <ac:chgData name="Hesse, Thomas Dr." userId="661ed4e0-7782-4a1c-9bc8-dd191b47db53" providerId="ADAL" clId="{C7B830A9-0123-4835-A836-7B72F5B1B7D9}" dt="2024-06-05T16:44:39.881" v="11593"/>
          <ac:spMkLst>
            <pc:docMk/>
            <pc:sldMk cId="208071715" sldId="373"/>
            <ac:spMk id="3" creationId="{78EBE305-4EEA-6363-7E9E-AB14F6A2CCCA}"/>
          </ac:spMkLst>
        </pc:spChg>
        <pc:spChg chg="add mod">
          <ac:chgData name="Hesse, Thomas Dr." userId="661ed4e0-7782-4a1c-9bc8-dd191b47db53" providerId="ADAL" clId="{C7B830A9-0123-4835-A836-7B72F5B1B7D9}" dt="2024-06-05T16:47:00.804" v="11621"/>
          <ac:spMkLst>
            <pc:docMk/>
            <pc:sldMk cId="208071715" sldId="373"/>
            <ac:spMk id="5" creationId="{D75A2197-BA18-BA30-5DFD-4AD78033296D}"/>
          </ac:spMkLst>
        </pc:spChg>
        <pc:spChg chg="replST delST">
          <ac:chgData name="Hesse, Thomas Dr." userId="661ed4e0-7782-4a1c-9bc8-dd191b47db53" providerId="ADAL" clId="{C7B830A9-0123-4835-A836-7B72F5B1B7D9}" dt="2024-06-05T16:22:43.122" v="9411"/>
          <ac:spMkLst>
            <pc:docMk/>
            <pc:sldMk cId="208071715" sldId="373"/>
            <ac:spMk id="8" creationId="{4AD8E0B0-8958-4018-A90C-07214EBF8132}"/>
          </ac:spMkLst>
        </pc:spChg>
        <pc:spChg chg="mod">
          <ac:chgData name="Hesse, Thomas Dr." userId="661ed4e0-7782-4a1c-9bc8-dd191b47db53" providerId="ADAL" clId="{C7B830A9-0123-4835-A836-7B72F5B1B7D9}" dt="2024-06-05T16:21:40.669" v="9392" actId="20577"/>
          <ac:spMkLst>
            <pc:docMk/>
            <pc:sldMk cId="208071715" sldId="373"/>
            <ac:spMk id="9" creationId="{1CF653FB-3CD7-42B7-B8D0-DC30DD14EE37}"/>
          </ac:spMkLst>
        </pc:spChg>
        <pc:spChg chg="add del mod">
          <ac:chgData name="Hesse, Thomas Dr." userId="661ed4e0-7782-4a1c-9bc8-dd191b47db53" providerId="ADAL" clId="{C7B830A9-0123-4835-A836-7B72F5B1B7D9}" dt="2024-06-05T16:46:50.405" v="11615" actId="21"/>
          <ac:spMkLst>
            <pc:docMk/>
            <pc:sldMk cId="208071715" sldId="373"/>
            <ac:spMk id="10" creationId="{8ABA3F66-E73A-47A1-A36F-1F2561667F15}"/>
          </ac:spMkLst>
        </pc:spChg>
        <pc:spChg chg="replST delST">
          <ac:chgData name="Hesse, Thomas Dr." userId="661ed4e0-7782-4a1c-9bc8-dd191b47db53" providerId="ADAL" clId="{C7B830A9-0123-4835-A836-7B72F5B1B7D9}" dt="2024-06-05T16:22:43.196" v="9429"/>
          <ac:spMkLst>
            <pc:docMk/>
            <pc:sldMk cId="208071715" sldId="373"/>
            <ac:spMk id="13" creationId="{3BB7A25F-048E-48D9-901A-BAAC579DB4D2}"/>
          </ac:spMkLst>
        </pc:spChg>
      </pc:sldChg>
      <pc:sldChg chg="addSp delSp modSp mod ord modAnim">
        <pc:chgData name="Hesse, Thomas Dr." userId="661ed4e0-7782-4a1c-9bc8-dd191b47db53" providerId="ADAL" clId="{C7B830A9-0123-4835-A836-7B72F5B1B7D9}" dt="2024-06-05T16:31:59.164" v="11298"/>
        <pc:sldMkLst>
          <pc:docMk/>
          <pc:sldMk cId="2921766681" sldId="374"/>
        </pc:sldMkLst>
        <pc:spChg chg="mod">
          <ac:chgData name="Hesse, Thomas Dr." userId="661ed4e0-7782-4a1c-9bc8-dd191b47db53" providerId="ADAL" clId="{C7B830A9-0123-4835-A836-7B72F5B1B7D9}" dt="2024-06-05T13:25:47.319" v="6368" actId="313"/>
          <ac:spMkLst>
            <pc:docMk/>
            <pc:sldMk cId="2921766681" sldId="374"/>
            <ac:spMk id="2" creationId="{5480DB41-A291-4FA3-905F-F311585DB63C}"/>
          </ac:spMkLst>
        </pc:spChg>
        <pc:spChg chg="add del mod">
          <ac:chgData name="Hesse, Thomas Dr." userId="661ed4e0-7782-4a1c-9bc8-dd191b47db53" providerId="ADAL" clId="{C7B830A9-0123-4835-A836-7B72F5B1B7D9}" dt="2024-06-05T06:20:35.310" v="47" actId="478"/>
          <ac:spMkLst>
            <pc:docMk/>
            <pc:sldMk cId="2921766681" sldId="374"/>
            <ac:spMk id="5" creationId="{32DB02E6-30BE-94BC-72B6-DFDD7FA519F1}"/>
          </ac:spMkLst>
        </pc:spChg>
        <pc:spChg chg="mod">
          <ac:chgData name="Hesse, Thomas Dr." userId="661ed4e0-7782-4a1c-9bc8-dd191b47db53" providerId="ADAL" clId="{C7B830A9-0123-4835-A836-7B72F5B1B7D9}" dt="2024-06-05T06:22:28.081" v="155" actId="20577"/>
          <ac:spMkLst>
            <pc:docMk/>
            <pc:sldMk cId="2921766681" sldId="374"/>
            <ac:spMk id="9" creationId="{1CF653FB-3CD7-42B7-B8D0-DC30DD14EE37}"/>
          </ac:spMkLst>
        </pc:spChg>
        <pc:spChg chg="del">
          <ac:chgData name="Hesse, Thomas Dr." userId="661ed4e0-7782-4a1c-9bc8-dd191b47db53" providerId="ADAL" clId="{C7B830A9-0123-4835-A836-7B72F5B1B7D9}" dt="2024-06-05T06:20:38.367" v="48" actId="478"/>
          <ac:spMkLst>
            <pc:docMk/>
            <pc:sldMk cId="2921766681" sldId="374"/>
            <ac:spMk id="11" creationId="{8D680EDA-2411-478A-9BAD-9D93FEF5EA63}"/>
          </ac:spMkLst>
        </pc:spChg>
        <pc:spChg chg="del mod">
          <ac:chgData name="Hesse, Thomas Dr." userId="661ed4e0-7782-4a1c-9bc8-dd191b47db53" providerId="ADAL" clId="{C7B830A9-0123-4835-A836-7B72F5B1B7D9}" dt="2024-06-05T06:20:31.864" v="46" actId="478"/>
          <ac:spMkLst>
            <pc:docMk/>
            <pc:sldMk cId="2921766681" sldId="374"/>
            <ac:spMk id="12" creationId="{85EAB308-9700-4974-8329-F7B257EC7702}"/>
          </ac:spMkLst>
        </pc:spChg>
        <pc:spChg chg="add mod">
          <ac:chgData name="Hesse, Thomas Dr." userId="661ed4e0-7782-4a1c-9bc8-dd191b47db53" providerId="ADAL" clId="{C7B830A9-0123-4835-A836-7B72F5B1B7D9}" dt="2024-06-05T06:32:21.293" v="314"/>
          <ac:spMkLst>
            <pc:docMk/>
            <pc:sldMk cId="2921766681" sldId="374"/>
            <ac:spMk id="16" creationId="{2CE354E7-4F71-DD93-6FA7-7B857DD784F6}"/>
          </ac:spMkLst>
        </pc:spChg>
        <pc:spChg chg="add mod">
          <ac:chgData name="Hesse, Thomas Dr." userId="661ed4e0-7782-4a1c-9bc8-dd191b47db53" providerId="ADAL" clId="{C7B830A9-0123-4835-A836-7B72F5B1B7D9}" dt="2024-06-05T06:29:32.813" v="231" actId="122"/>
          <ac:spMkLst>
            <pc:docMk/>
            <pc:sldMk cId="2921766681" sldId="374"/>
            <ac:spMk id="17" creationId="{65BD3CF4-5ABC-32A7-8B5B-76048028D91A}"/>
          </ac:spMkLst>
        </pc:spChg>
        <pc:spChg chg="add mod">
          <ac:chgData name="Hesse, Thomas Dr." userId="661ed4e0-7782-4a1c-9bc8-dd191b47db53" providerId="ADAL" clId="{C7B830A9-0123-4835-A836-7B72F5B1B7D9}" dt="2024-06-05T06:32:18.491" v="313"/>
          <ac:spMkLst>
            <pc:docMk/>
            <pc:sldMk cId="2921766681" sldId="374"/>
            <ac:spMk id="18" creationId="{66BF3D1D-D374-AE76-3D14-24997ADD02A6}"/>
          </ac:spMkLst>
        </pc:spChg>
        <pc:spChg chg="add mod">
          <ac:chgData name="Hesse, Thomas Dr." userId="661ed4e0-7782-4a1c-9bc8-dd191b47db53" providerId="ADAL" clId="{C7B830A9-0123-4835-A836-7B72F5B1B7D9}" dt="2024-06-05T06:32:48.833" v="333" actId="1036"/>
          <ac:spMkLst>
            <pc:docMk/>
            <pc:sldMk cId="2921766681" sldId="374"/>
            <ac:spMk id="19" creationId="{81067685-9F1B-B6B3-A2F1-B2ADC945B530}"/>
          </ac:spMkLst>
        </pc:spChg>
        <pc:spChg chg="add mod">
          <ac:chgData name="Hesse, Thomas Dr." userId="661ed4e0-7782-4a1c-9bc8-dd191b47db53" providerId="ADAL" clId="{C7B830A9-0123-4835-A836-7B72F5B1B7D9}" dt="2024-06-05T06:39:12.576" v="647" actId="20577"/>
          <ac:spMkLst>
            <pc:docMk/>
            <pc:sldMk cId="2921766681" sldId="374"/>
            <ac:spMk id="20" creationId="{6B98134D-BB42-4EB3-84D6-553C0FC7A249}"/>
          </ac:spMkLst>
        </pc:spChg>
        <pc:spChg chg="add mod">
          <ac:chgData name="Hesse, Thomas Dr." userId="661ed4e0-7782-4a1c-9bc8-dd191b47db53" providerId="ADAL" clId="{C7B830A9-0123-4835-A836-7B72F5B1B7D9}" dt="2024-06-05T06:36:16.634" v="514" actId="20577"/>
          <ac:spMkLst>
            <pc:docMk/>
            <pc:sldMk cId="2921766681" sldId="374"/>
            <ac:spMk id="21" creationId="{4F05F3A4-06A0-C0A5-8259-DE102EC2F30D}"/>
          </ac:spMkLst>
        </pc:spChg>
        <pc:spChg chg="add mod">
          <ac:chgData name="Hesse, Thomas Dr." userId="661ed4e0-7782-4a1c-9bc8-dd191b47db53" providerId="ADAL" clId="{C7B830A9-0123-4835-A836-7B72F5B1B7D9}" dt="2024-06-05T06:37:43.352" v="566" actId="1037"/>
          <ac:spMkLst>
            <pc:docMk/>
            <pc:sldMk cId="2921766681" sldId="374"/>
            <ac:spMk id="22" creationId="{44157273-3168-A462-FBBF-FCB4A4ADE8FB}"/>
          </ac:spMkLst>
        </pc:spChg>
        <pc:spChg chg="add mod replST delST">
          <ac:chgData name="Hesse, Thomas Dr." userId="661ed4e0-7782-4a1c-9bc8-dd191b47db53" providerId="ADAL" clId="{C7B830A9-0123-4835-A836-7B72F5B1B7D9}" dt="2024-06-05T06:44:21.671" v="784" actId="207"/>
          <ac:spMkLst>
            <pc:docMk/>
            <pc:sldMk cId="2921766681" sldId="374"/>
            <ac:spMk id="23" creationId="{7443E772-A262-A9B0-764D-C302DF346117}"/>
          </ac:spMkLst>
        </pc:spChg>
        <pc:spChg chg="add mod replST delST">
          <ac:chgData name="Hesse, Thomas Dr." userId="661ed4e0-7782-4a1c-9bc8-dd191b47db53" providerId="ADAL" clId="{C7B830A9-0123-4835-A836-7B72F5B1B7D9}" dt="2024-06-05T06:42:34.008" v="762"/>
          <ac:spMkLst>
            <pc:docMk/>
            <pc:sldMk cId="2921766681" sldId="374"/>
            <ac:spMk id="24" creationId="{E5B80864-8A0B-63DD-1275-51E140F2D84B}"/>
          </ac:spMkLst>
        </pc:spChg>
        <pc:picChg chg="add del mod">
          <ac:chgData name="Hesse, Thomas Dr." userId="661ed4e0-7782-4a1c-9bc8-dd191b47db53" providerId="ADAL" clId="{C7B830A9-0123-4835-A836-7B72F5B1B7D9}" dt="2024-06-05T06:25:11.295" v="158" actId="478"/>
          <ac:picMkLst>
            <pc:docMk/>
            <pc:sldMk cId="2921766681" sldId="374"/>
            <ac:picMk id="7" creationId="{E16CE20E-E692-61F6-5110-530DE655121E}"/>
          </ac:picMkLst>
        </pc:picChg>
        <pc:picChg chg="add del">
          <ac:chgData name="Hesse, Thomas Dr." userId="661ed4e0-7782-4a1c-9bc8-dd191b47db53" providerId="ADAL" clId="{C7B830A9-0123-4835-A836-7B72F5B1B7D9}" dt="2024-06-05T06:26:12.800" v="160" actId="478"/>
          <ac:picMkLst>
            <pc:docMk/>
            <pc:sldMk cId="2921766681" sldId="374"/>
            <ac:picMk id="10" creationId="{C4C432BF-EAE4-C26B-2800-9ADE0C3AEECC}"/>
          </ac:picMkLst>
        </pc:picChg>
        <pc:picChg chg="add mod">
          <ac:chgData name="Hesse, Thomas Dr." userId="661ed4e0-7782-4a1c-9bc8-dd191b47db53" providerId="ADAL" clId="{C7B830A9-0123-4835-A836-7B72F5B1B7D9}" dt="2024-06-05T06:27:14.262" v="164" actId="1076"/>
          <ac:picMkLst>
            <pc:docMk/>
            <pc:sldMk cId="2921766681" sldId="374"/>
            <ac:picMk id="14" creationId="{AEF253B5-DCE5-2254-FC1F-A9C605107965}"/>
          </ac:picMkLst>
        </pc:picChg>
        <pc:picChg chg="del">
          <ac:chgData name="Hesse, Thomas Dr." userId="661ed4e0-7782-4a1c-9bc8-dd191b47db53" providerId="ADAL" clId="{C7B830A9-0123-4835-A836-7B72F5B1B7D9}" dt="2024-06-05T06:20:20.984" v="24" actId="478"/>
          <ac:picMkLst>
            <pc:docMk/>
            <pc:sldMk cId="2921766681" sldId="374"/>
            <ac:picMk id="15" creationId="{E504B295-7553-4F42-B625-75983419786A}"/>
          </ac:picMkLst>
        </pc:picChg>
      </pc:sldChg>
      <pc:sldChg chg="addSp modSp mod ord modAnim">
        <pc:chgData name="Hesse, Thomas Dr." userId="661ed4e0-7782-4a1c-9bc8-dd191b47db53" providerId="ADAL" clId="{C7B830A9-0123-4835-A836-7B72F5B1B7D9}" dt="2024-06-05T16:31:59.165" v="11299"/>
        <pc:sldMkLst>
          <pc:docMk/>
          <pc:sldMk cId="2130145112" sldId="376"/>
        </pc:sldMkLst>
        <pc:spChg chg="mod">
          <ac:chgData name="Hesse, Thomas Dr." userId="661ed4e0-7782-4a1c-9bc8-dd191b47db53" providerId="ADAL" clId="{C7B830A9-0123-4835-A836-7B72F5B1B7D9}" dt="2024-06-05T13:25:48.679" v="6370" actId="313"/>
          <ac:spMkLst>
            <pc:docMk/>
            <pc:sldMk cId="2130145112" sldId="376"/>
            <ac:spMk id="2" creationId="{1192598F-891C-49EF-942D-23A8650216D3}"/>
          </ac:spMkLst>
        </pc:spChg>
        <pc:spChg chg="add replST delST">
          <ac:chgData name="Hesse, Thomas Dr." userId="661ed4e0-7782-4a1c-9bc8-dd191b47db53" providerId="ADAL" clId="{C7B830A9-0123-4835-A836-7B72F5B1B7D9}" dt="2024-06-05T08:50:37.345" v="1853"/>
          <ac:spMkLst>
            <pc:docMk/>
            <pc:sldMk cId="2130145112" sldId="376"/>
            <ac:spMk id="3" creationId="{0D9832C0-71D1-9E0D-1340-80B341822E78}"/>
          </ac:spMkLst>
        </pc:spChg>
        <pc:spChg chg="add replST delST">
          <ac:chgData name="Hesse, Thomas Dr." userId="661ed4e0-7782-4a1c-9bc8-dd191b47db53" providerId="ADAL" clId="{C7B830A9-0123-4835-A836-7B72F5B1B7D9}" dt="2024-06-05T08:50:45.452" v="1928"/>
          <ac:spMkLst>
            <pc:docMk/>
            <pc:sldMk cId="2130145112" sldId="376"/>
            <ac:spMk id="5" creationId="{F4E99A0B-EEF8-DACB-BC73-F04A5301F5E9}"/>
          </ac:spMkLst>
        </pc:spChg>
        <pc:spChg chg="add replST delST">
          <ac:chgData name="Hesse, Thomas Dr." userId="661ed4e0-7782-4a1c-9bc8-dd191b47db53" providerId="ADAL" clId="{C7B830A9-0123-4835-A836-7B72F5B1B7D9}" dt="2024-06-05T08:50:51.509" v="2001"/>
          <ac:spMkLst>
            <pc:docMk/>
            <pc:sldMk cId="2130145112" sldId="376"/>
            <ac:spMk id="6" creationId="{BE0FB747-2EA8-A744-5E60-532FD47E776A}"/>
          </ac:spMkLst>
        </pc:spChg>
        <pc:spChg chg="add replST delST">
          <ac:chgData name="Hesse, Thomas Dr." userId="661ed4e0-7782-4a1c-9bc8-dd191b47db53" providerId="ADAL" clId="{C7B830A9-0123-4835-A836-7B72F5B1B7D9}" dt="2024-06-05T08:51:12.360" v="2090"/>
          <ac:spMkLst>
            <pc:docMk/>
            <pc:sldMk cId="2130145112" sldId="376"/>
            <ac:spMk id="7" creationId="{E93B350F-238E-907C-6F98-54B4A13C436F}"/>
          </ac:spMkLst>
        </pc:spChg>
        <pc:spChg chg="mod">
          <ac:chgData name="Hesse, Thomas Dr." userId="661ed4e0-7782-4a1c-9bc8-dd191b47db53" providerId="ADAL" clId="{C7B830A9-0123-4835-A836-7B72F5B1B7D9}" dt="2024-06-05T16:13:42.591" v="9304" actId="20577"/>
          <ac:spMkLst>
            <pc:docMk/>
            <pc:sldMk cId="2130145112" sldId="376"/>
            <ac:spMk id="9" creationId="{1CF653FB-3CD7-42B7-B8D0-DC30DD14EE37}"/>
          </ac:spMkLst>
        </pc:spChg>
        <pc:spChg chg="add mod">
          <ac:chgData name="Hesse, Thomas Dr." userId="661ed4e0-7782-4a1c-9bc8-dd191b47db53" providerId="ADAL" clId="{C7B830A9-0123-4835-A836-7B72F5B1B7D9}" dt="2024-06-05T12:01:32.870" v="4384" actId="14100"/>
          <ac:spMkLst>
            <pc:docMk/>
            <pc:sldMk cId="2130145112" sldId="376"/>
            <ac:spMk id="11" creationId="{EEBD3727-C1ED-4275-4B7A-7955E7114A05}"/>
          </ac:spMkLst>
        </pc:spChg>
        <pc:spChg chg="mod replST delST">
          <ac:chgData name="Hesse, Thomas Dr." userId="661ed4e0-7782-4a1c-9bc8-dd191b47db53" providerId="ADAL" clId="{C7B830A9-0123-4835-A836-7B72F5B1B7D9}" dt="2024-06-05T13:13:55.532" v="4971" actId="20577"/>
          <ac:spMkLst>
            <pc:docMk/>
            <pc:sldMk cId="2130145112" sldId="376"/>
            <ac:spMk id="13" creationId="{E66C30B6-240E-4BF7-B8F6-E6D4ACCB97A0}"/>
          </ac:spMkLst>
        </pc:spChg>
        <pc:picChg chg="add mod">
          <ac:chgData name="Hesse, Thomas Dr." userId="661ed4e0-7782-4a1c-9bc8-dd191b47db53" providerId="ADAL" clId="{C7B830A9-0123-4835-A836-7B72F5B1B7D9}" dt="2024-06-05T12:00:31.047" v="4370" actId="1076"/>
          <ac:picMkLst>
            <pc:docMk/>
            <pc:sldMk cId="2130145112" sldId="376"/>
            <ac:picMk id="10" creationId="{D762AF57-E121-0EAA-EE1E-8509470F59EE}"/>
          </ac:picMkLst>
        </pc:picChg>
      </pc:sldChg>
      <pc:sldChg chg="addSp modSp add del mod ord">
        <pc:chgData name="Hesse, Thomas Dr." userId="661ed4e0-7782-4a1c-9bc8-dd191b47db53" providerId="ADAL" clId="{C7B830A9-0123-4835-A836-7B72F5B1B7D9}" dt="2024-06-05T16:32:29.640" v="11373" actId="47"/>
        <pc:sldMkLst>
          <pc:docMk/>
          <pc:sldMk cId="1820870863" sldId="383"/>
        </pc:sldMkLst>
        <pc:spChg chg="mod">
          <ac:chgData name="Hesse, Thomas Dr." userId="661ed4e0-7782-4a1c-9bc8-dd191b47db53" providerId="ADAL" clId="{C7B830A9-0123-4835-A836-7B72F5B1B7D9}" dt="2024-06-05T13:26:05.236" v="6394" actId="313"/>
          <ac:spMkLst>
            <pc:docMk/>
            <pc:sldMk cId="1820870863" sldId="383"/>
            <ac:spMk id="2" creationId="{E8541734-66F1-401B-A8DA-17101AD020BE}"/>
          </ac:spMkLst>
        </pc:spChg>
        <pc:spChg chg="mod">
          <ac:chgData name="Hesse, Thomas Dr." userId="661ed4e0-7782-4a1c-9bc8-dd191b47db53" providerId="ADAL" clId="{C7B830A9-0123-4835-A836-7B72F5B1B7D9}" dt="2024-06-05T16:31:08.880" v="9483" actId="20577"/>
          <ac:spMkLst>
            <pc:docMk/>
            <pc:sldMk cId="1820870863" sldId="383"/>
            <ac:spMk id="5" creationId="{767DEA81-4437-4CA1-A5EF-9456F03826EB}"/>
          </ac:spMkLst>
        </pc:spChg>
        <pc:graphicFrameChg chg="add mod">
          <ac:chgData name="Hesse, Thomas Dr." userId="661ed4e0-7782-4a1c-9bc8-dd191b47db53" providerId="ADAL" clId="{C7B830A9-0123-4835-A836-7B72F5B1B7D9}" dt="2024-06-05T16:24:27.564" v="9465"/>
          <ac:graphicFrameMkLst>
            <pc:docMk/>
            <pc:sldMk cId="1820870863" sldId="383"/>
            <ac:graphicFrameMk id="3" creationId="{CDACF557-2142-3E49-35CF-DE02D09C6F94}"/>
          </ac:graphicFrameMkLst>
        </pc:graphicFrameChg>
      </pc:sldChg>
      <pc:sldChg chg="addSp delSp modSp add del mod">
        <pc:chgData name="Hesse, Thomas Dr." userId="661ed4e0-7782-4a1c-9bc8-dd191b47db53" providerId="ADAL" clId="{C7B830A9-0123-4835-A836-7B72F5B1B7D9}" dt="2024-06-05T13:25:18.903" v="5226" actId="2696"/>
        <pc:sldMkLst>
          <pc:docMk/>
          <pc:sldMk cId="868801044" sldId="437"/>
        </pc:sldMkLst>
        <pc:spChg chg="del">
          <ac:chgData name="Hesse, Thomas Dr." userId="661ed4e0-7782-4a1c-9bc8-dd191b47db53" providerId="ADAL" clId="{C7B830A9-0123-4835-A836-7B72F5B1B7D9}" dt="2024-06-05T13:25:18.851" v="5183"/>
          <ac:spMkLst>
            <pc:docMk/>
            <pc:sldMk cId="868801044" sldId="437"/>
            <ac:spMk id="2" creationId="{C70AAD1A-26C7-4872-80C7-AF2E9B274415}"/>
          </ac:spMkLst>
        </pc:spChg>
        <pc:spChg chg="add mod">
          <ac:chgData name="Hesse, Thomas Dr." userId="661ed4e0-7782-4a1c-9bc8-dd191b47db53" providerId="ADAL" clId="{C7B830A9-0123-4835-A836-7B72F5B1B7D9}" dt="2024-06-05T13:25:18.851" v="5183"/>
          <ac:spMkLst>
            <pc:docMk/>
            <pc:sldMk cId="868801044" sldId="437"/>
            <ac:spMk id="5" creationId="{6B1F5C95-1F4D-E0FF-015B-6E736C31D288}"/>
          </ac:spMkLst>
        </pc:spChg>
        <pc:spChg chg="del">
          <ac:chgData name="Hesse, Thomas Dr." userId="661ed4e0-7782-4a1c-9bc8-dd191b47db53" providerId="ADAL" clId="{C7B830A9-0123-4835-A836-7B72F5B1B7D9}" dt="2024-06-05T13:25:18.852" v="5185"/>
          <ac:spMkLst>
            <pc:docMk/>
            <pc:sldMk cId="868801044" sldId="437"/>
            <ac:spMk id="6" creationId="{1E6469EE-1B98-4322-AEB5-C9BF1E8A474D}"/>
          </ac:spMkLst>
        </pc:spChg>
        <pc:spChg chg="del">
          <ac:chgData name="Hesse, Thomas Dr." userId="661ed4e0-7782-4a1c-9bc8-dd191b47db53" providerId="ADAL" clId="{C7B830A9-0123-4835-A836-7B72F5B1B7D9}" dt="2024-06-05T13:25:18.852" v="5187"/>
          <ac:spMkLst>
            <pc:docMk/>
            <pc:sldMk cId="868801044" sldId="437"/>
            <ac:spMk id="7" creationId="{0FB473AD-EB04-417F-BAA5-CFA80CE721A4}"/>
          </ac:spMkLst>
        </pc:spChg>
        <pc:spChg chg="del">
          <ac:chgData name="Hesse, Thomas Dr." userId="661ed4e0-7782-4a1c-9bc8-dd191b47db53" providerId="ADAL" clId="{C7B830A9-0123-4835-A836-7B72F5B1B7D9}" dt="2024-06-05T13:25:18.852" v="5189"/>
          <ac:spMkLst>
            <pc:docMk/>
            <pc:sldMk cId="868801044" sldId="437"/>
            <ac:spMk id="9" creationId="{B61CB580-DF8B-48AF-BCE7-BFEC15B6A502}"/>
          </ac:spMkLst>
        </pc:spChg>
        <pc:spChg chg="del">
          <ac:chgData name="Hesse, Thomas Dr." userId="661ed4e0-7782-4a1c-9bc8-dd191b47db53" providerId="ADAL" clId="{C7B830A9-0123-4835-A836-7B72F5B1B7D9}" dt="2024-06-05T13:25:18.853" v="5191"/>
          <ac:spMkLst>
            <pc:docMk/>
            <pc:sldMk cId="868801044" sldId="437"/>
            <ac:spMk id="10" creationId="{F2184C5A-DA94-4008-81AA-34FDFCD6C478}"/>
          </ac:spMkLst>
        </pc:spChg>
        <pc:spChg chg="del">
          <ac:chgData name="Hesse, Thomas Dr." userId="661ed4e0-7782-4a1c-9bc8-dd191b47db53" providerId="ADAL" clId="{C7B830A9-0123-4835-A836-7B72F5B1B7D9}" dt="2024-06-05T13:25:18.853" v="5193"/>
          <ac:spMkLst>
            <pc:docMk/>
            <pc:sldMk cId="868801044" sldId="437"/>
            <ac:spMk id="11" creationId="{F8EAEBC0-84E1-4FCC-8E21-20C3A6624B55}"/>
          </ac:spMkLst>
        </pc:spChg>
        <pc:spChg chg="del">
          <ac:chgData name="Hesse, Thomas Dr." userId="661ed4e0-7782-4a1c-9bc8-dd191b47db53" providerId="ADAL" clId="{C7B830A9-0123-4835-A836-7B72F5B1B7D9}" dt="2024-06-05T13:25:18.853" v="5195"/>
          <ac:spMkLst>
            <pc:docMk/>
            <pc:sldMk cId="868801044" sldId="437"/>
            <ac:spMk id="12" creationId="{D641C376-344F-4289-9432-85343D18334B}"/>
          </ac:spMkLst>
        </pc:spChg>
        <pc:spChg chg="del">
          <ac:chgData name="Hesse, Thomas Dr." userId="661ed4e0-7782-4a1c-9bc8-dd191b47db53" providerId="ADAL" clId="{C7B830A9-0123-4835-A836-7B72F5B1B7D9}" dt="2024-06-05T13:25:18.854" v="5197"/>
          <ac:spMkLst>
            <pc:docMk/>
            <pc:sldMk cId="868801044" sldId="437"/>
            <ac:spMk id="13" creationId="{58694F3E-1008-4E79-AE64-99A4E238B73A}"/>
          </ac:spMkLst>
        </pc:spChg>
        <pc:spChg chg="del">
          <ac:chgData name="Hesse, Thomas Dr." userId="661ed4e0-7782-4a1c-9bc8-dd191b47db53" providerId="ADAL" clId="{C7B830A9-0123-4835-A836-7B72F5B1B7D9}" dt="2024-06-05T13:25:18.854" v="5199"/>
          <ac:spMkLst>
            <pc:docMk/>
            <pc:sldMk cId="868801044" sldId="437"/>
            <ac:spMk id="14" creationId="{C02BEAD9-C8B6-4CA4-AFCB-4547BBCC4937}"/>
          </ac:spMkLst>
        </pc:spChg>
        <pc:spChg chg="del">
          <ac:chgData name="Hesse, Thomas Dr." userId="661ed4e0-7782-4a1c-9bc8-dd191b47db53" providerId="ADAL" clId="{C7B830A9-0123-4835-A836-7B72F5B1B7D9}" dt="2024-06-05T13:25:18.854" v="5201"/>
          <ac:spMkLst>
            <pc:docMk/>
            <pc:sldMk cId="868801044" sldId="437"/>
            <ac:spMk id="16" creationId="{B6D44F35-5BE4-4B77-B3C1-09A0062E2D7D}"/>
          </ac:spMkLst>
        </pc:spChg>
        <pc:spChg chg="del">
          <ac:chgData name="Hesse, Thomas Dr." userId="661ed4e0-7782-4a1c-9bc8-dd191b47db53" providerId="ADAL" clId="{C7B830A9-0123-4835-A836-7B72F5B1B7D9}" dt="2024-06-05T13:25:18.854" v="5203"/>
          <ac:spMkLst>
            <pc:docMk/>
            <pc:sldMk cId="868801044" sldId="437"/>
            <ac:spMk id="17" creationId="{188A44A1-90B2-4719-B50D-B1923DD2398F}"/>
          </ac:spMkLst>
        </pc:spChg>
        <pc:spChg chg="del">
          <ac:chgData name="Hesse, Thomas Dr." userId="661ed4e0-7782-4a1c-9bc8-dd191b47db53" providerId="ADAL" clId="{C7B830A9-0123-4835-A836-7B72F5B1B7D9}" dt="2024-06-05T13:25:18.855" v="5205"/>
          <ac:spMkLst>
            <pc:docMk/>
            <pc:sldMk cId="868801044" sldId="437"/>
            <ac:spMk id="18" creationId="{FC093E87-1577-48CA-AB00-5C075EC783E1}"/>
          </ac:spMkLst>
        </pc:spChg>
        <pc:spChg chg="del">
          <ac:chgData name="Hesse, Thomas Dr." userId="661ed4e0-7782-4a1c-9bc8-dd191b47db53" providerId="ADAL" clId="{C7B830A9-0123-4835-A836-7B72F5B1B7D9}" dt="2024-06-05T13:25:18.855" v="5207"/>
          <ac:spMkLst>
            <pc:docMk/>
            <pc:sldMk cId="868801044" sldId="437"/>
            <ac:spMk id="19" creationId="{96198067-EF66-432A-B593-0471F4DEE70C}"/>
          </ac:spMkLst>
        </pc:spChg>
        <pc:spChg chg="del">
          <ac:chgData name="Hesse, Thomas Dr." userId="661ed4e0-7782-4a1c-9bc8-dd191b47db53" providerId="ADAL" clId="{C7B830A9-0123-4835-A836-7B72F5B1B7D9}" dt="2024-06-05T13:25:18.855" v="5209"/>
          <ac:spMkLst>
            <pc:docMk/>
            <pc:sldMk cId="868801044" sldId="437"/>
            <ac:spMk id="20" creationId="{3390C302-6E15-464C-AFBA-0E957A7D82EF}"/>
          </ac:spMkLst>
        </pc:spChg>
        <pc:spChg chg="del">
          <ac:chgData name="Hesse, Thomas Dr." userId="661ed4e0-7782-4a1c-9bc8-dd191b47db53" providerId="ADAL" clId="{C7B830A9-0123-4835-A836-7B72F5B1B7D9}" dt="2024-06-05T13:25:18.858" v="5216"/>
          <ac:spMkLst>
            <pc:docMk/>
            <pc:sldMk cId="868801044" sldId="437"/>
            <ac:spMk id="21" creationId="{B327EFC2-AAF0-99F4-8743-4A5F7196D385}"/>
          </ac:spMkLst>
        </pc:spChg>
        <pc:spChg chg="add mod">
          <ac:chgData name="Hesse, Thomas Dr." userId="661ed4e0-7782-4a1c-9bc8-dd191b47db53" providerId="ADAL" clId="{C7B830A9-0123-4835-A836-7B72F5B1B7D9}" dt="2024-06-05T13:25:18.858" v="5215"/>
          <ac:spMkLst>
            <pc:docMk/>
            <pc:sldMk cId="868801044" sldId="437"/>
            <ac:spMk id="23" creationId="{D945C549-FC5F-4B45-DDE5-00F4D6B38302}"/>
          </ac:spMkLst>
        </pc:spChg>
        <pc:spChg chg="del">
          <ac:chgData name="Hesse, Thomas Dr." userId="661ed4e0-7782-4a1c-9bc8-dd191b47db53" providerId="ADAL" clId="{C7B830A9-0123-4835-A836-7B72F5B1B7D9}" dt="2024-06-05T13:25:18.858" v="5214"/>
          <ac:spMkLst>
            <pc:docMk/>
            <pc:sldMk cId="868801044" sldId="437"/>
            <ac:spMk id="26" creationId="{023B7C00-34D3-635C-E807-EB002A3B02F8}"/>
          </ac:spMkLst>
        </pc:spChg>
        <pc:spChg chg="add mod">
          <ac:chgData name="Hesse, Thomas Dr." userId="661ed4e0-7782-4a1c-9bc8-dd191b47db53" providerId="ADAL" clId="{C7B830A9-0123-4835-A836-7B72F5B1B7D9}" dt="2024-06-05T13:25:18.859" v="5217"/>
          <ac:spMkLst>
            <pc:docMk/>
            <pc:sldMk cId="868801044" sldId="437"/>
            <ac:spMk id="27" creationId="{F0D35095-1250-1D8A-6A75-88303FFFEE25}"/>
          </ac:spMkLst>
        </pc:spChg>
        <pc:grpChg chg="del">
          <ac:chgData name="Hesse, Thomas Dr." userId="661ed4e0-7782-4a1c-9bc8-dd191b47db53" providerId="ADAL" clId="{C7B830A9-0123-4835-A836-7B72F5B1B7D9}" dt="2024-06-05T13:25:18.856" v="5211"/>
          <ac:grpSpMkLst>
            <pc:docMk/>
            <pc:sldMk cId="868801044" sldId="437"/>
            <ac:grpSpMk id="25" creationId="{F6C87C0E-1651-4964-8214-4B8A6FB75CB9}"/>
          </ac:grpSpMkLst>
        </pc:grpChg>
        <pc:grpChg chg="del">
          <ac:chgData name="Hesse, Thomas Dr." userId="661ed4e0-7782-4a1c-9bc8-dd191b47db53" providerId="ADAL" clId="{C7B830A9-0123-4835-A836-7B72F5B1B7D9}" dt="2024-06-05T13:25:18.856" v="5213"/>
          <ac:grpSpMkLst>
            <pc:docMk/>
            <pc:sldMk cId="868801044" sldId="437"/>
            <ac:grpSpMk id="38" creationId="{87C5E346-AF66-4E9A-974F-0E5F30CEFFFD}"/>
          </ac:grpSpMkLst>
        </pc:grpChg>
        <pc:grpChg chg="del">
          <ac:chgData name="Hesse, Thomas Dr." userId="661ed4e0-7782-4a1c-9bc8-dd191b47db53" providerId="ADAL" clId="{C7B830A9-0123-4835-A836-7B72F5B1B7D9}" dt="2024-06-05T13:25:18.849" v="5181"/>
          <ac:grpSpMkLst>
            <pc:docMk/>
            <pc:sldMk cId="868801044" sldId="437"/>
            <ac:grpSpMk id="40" creationId="{EEEB7333-A87C-49F3-AC60-28B4A000FD3E}"/>
          </ac:grpSpMkLst>
        </pc:grpChg>
        <pc:grpChg chg="del">
          <ac:chgData name="Hesse, Thomas Dr." userId="661ed4e0-7782-4a1c-9bc8-dd191b47db53" providerId="ADAL" clId="{C7B830A9-0123-4835-A836-7B72F5B1B7D9}" dt="2024-06-05T13:25:18.848" v="5179"/>
          <ac:grpSpMkLst>
            <pc:docMk/>
            <pc:sldMk cId="868801044" sldId="437"/>
            <ac:grpSpMk id="41" creationId="{1A8D0AF9-D849-489E-955F-E4F60B6BF84B}"/>
          </ac:grpSpMkLst>
        </pc:grpChg>
      </pc:sldChg>
      <pc:sldChg chg="addSp delSp modSp add del mod">
        <pc:chgData name="Hesse, Thomas Dr." userId="661ed4e0-7782-4a1c-9bc8-dd191b47db53" providerId="ADAL" clId="{C7B830A9-0123-4835-A836-7B72F5B1B7D9}" dt="2024-06-05T16:31:57.662" v="9535" actId="2696"/>
        <pc:sldMkLst>
          <pc:docMk/>
          <pc:sldMk cId="1862174294" sldId="437"/>
        </pc:sldMkLst>
        <pc:spChg chg="del">
          <ac:chgData name="Hesse, Thomas Dr." userId="661ed4e0-7782-4a1c-9bc8-dd191b47db53" providerId="ADAL" clId="{C7B830A9-0123-4835-A836-7B72F5B1B7D9}" dt="2024-06-05T16:31:57.553" v="9490"/>
          <ac:spMkLst>
            <pc:docMk/>
            <pc:sldMk cId="1862174294" sldId="437"/>
            <ac:spMk id="2" creationId="{C70AAD1A-26C7-4872-80C7-AF2E9B274415}"/>
          </ac:spMkLst>
        </pc:spChg>
        <pc:spChg chg="add mod">
          <ac:chgData name="Hesse, Thomas Dr." userId="661ed4e0-7782-4a1c-9bc8-dd191b47db53" providerId="ADAL" clId="{C7B830A9-0123-4835-A836-7B72F5B1B7D9}" dt="2024-06-05T16:31:57.553" v="9490"/>
          <ac:spMkLst>
            <pc:docMk/>
            <pc:sldMk cId="1862174294" sldId="437"/>
            <ac:spMk id="5" creationId="{DF59139C-523E-7153-7B45-40433BF55885}"/>
          </ac:spMkLst>
        </pc:spChg>
        <pc:spChg chg="del">
          <ac:chgData name="Hesse, Thomas Dr." userId="661ed4e0-7782-4a1c-9bc8-dd191b47db53" providerId="ADAL" clId="{C7B830A9-0123-4835-A836-7B72F5B1B7D9}" dt="2024-06-05T16:31:57.554" v="9492"/>
          <ac:spMkLst>
            <pc:docMk/>
            <pc:sldMk cId="1862174294" sldId="437"/>
            <ac:spMk id="6" creationId="{1E6469EE-1B98-4322-AEB5-C9BF1E8A474D}"/>
          </ac:spMkLst>
        </pc:spChg>
        <pc:spChg chg="del">
          <ac:chgData name="Hesse, Thomas Dr." userId="661ed4e0-7782-4a1c-9bc8-dd191b47db53" providerId="ADAL" clId="{C7B830A9-0123-4835-A836-7B72F5B1B7D9}" dt="2024-06-05T16:31:57.554" v="9494"/>
          <ac:spMkLst>
            <pc:docMk/>
            <pc:sldMk cId="1862174294" sldId="437"/>
            <ac:spMk id="7" creationId="{0FB473AD-EB04-417F-BAA5-CFA80CE721A4}"/>
          </ac:spMkLst>
        </pc:spChg>
        <pc:spChg chg="del">
          <ac:chgData name="Hesse, Thomas Dr." userId="661ed4e0-7782-4a1c-9bc8-dd191b47db53" providerId="ADAL" clId="{C7B830A9-0123-4835-A836-7B72F5B1B7D9}" dt="2024-06-05T16:31:57.554" v="9496"/>
          <ac:spMkLst>
            <pc:docMk/>
            <pc:sldMk cId="1862174294" sldId="437"/>
            <ac:spMk id="9" creationId="{B61CB580-DF8B-48AF-BCE7-BFEC15B6A502}"/>
          </ac:spMkLst>
        </pc:spChg>
        <pc:spChg chg="del">
          <ac:chgData name="Hesse, Thomas Dr." userId="661ed4e0-7782-4a1c-9bc8-dd191b47db53" providerId="ADAL" clId="{C7B830A9-0123-4835-A836-7B72F5B1B7D9}" dt="2024-06-05T16:31:57.555" v="9498"/>
          <ac:spMkLst>
            <pc:docMk/>
            <pc:sldMk cId="1862174294" sldId="437"/>
            <ac:spMk id="10" creationId="{F2184C5A-DA94-4008-81AA-34FDFCD6C478}"/>
          </ac:spMkLst>
        </pc:spChg>
        <pc:spChg chg="del">
          <ac:chgData name="Hesse, Thomas Dr." userId="661ed4e0-7782-4a1c-9bc8-dd191b47db53" providerId="ADAL" clId="{C7B830A9-0123-4835-A836-7B72F5B1B7D9}" dt="2024-06-05T16:31:57.555" v="9500"/>
          <ac:spMkLst>
            <pc:docMk/>
            <pc:sldMk cId="1862174294" sldId="437"/>
            <ac:spMk id="11" creationId="{F8EAEBC0-84E1-4FCC-8E21-20C3A6624B55}"/>
          </ac:spMkLst>
        </pc:spChg>
        <pc:spChg chg="del">
          <ac:chgData name="Hesse, Thomas Dr." userId="661ed4e0-7782-4a1c-9bc8-dd191b47db53" providerId="ADAL" clId="{C7B830A9-0123-4835-A836-7B72F5B1B7D9}" dt="2024-06-05T16:31:57.555" v="9502"/>
          <ac:spMkLst>
            <pc:docMk/>
            <pc:sldMk cId="1862174294" sldId="437"/>
            <ac:spMk id="12" creationId="{D641C376-344F-4289-9432-85343D18334B}"/>
          </ac:spMkLst>
        </pc:spChg>
        <pc:spChg chg="del">
          <ac:chgData name="Hesse, Thomas Dr." userId="661ed4e0-7782-4a1c-9bc8-dd191b47db53" providerId="ADAL" clId="{C7B830A9-0123-4835-A836-7B72F5B1B7D9}" dt="2024-06-05T16:31:57.555" v="9504"/>
          <ac:spMkLst>
            <pc:docMk/>
            <pc:sldMk cId="1862174294" sldId="437"/>
            <ac:spMk id="13" creationId="{58694F3E-1008-4E79-AE64-99A4E238B73A}"/>
          </ac:spMkLst>
        </pc:spChg>
        <pc:spChg chg="del">
          <ac:chgData name="Hesse, Thomas Dr." userId="661ed4e0-7782-4a1c-9bc8-dd191b47db53" providerId="ADAL" clId="{C7B830A9-0123-4835-A836-7B72F5B1B7D9}" dt="2024-06-05T16:31:57.556" v="9506"/>
          <ac:spMkLst>
            <pc:docMk/>
            <pc:sldMk cId="1862174294" sldId="437"/>
            <ac:spMk id="14" creationId="{C02BEAD9-C8B6-4CA4-AFCB-4547BBCC4937}"/>
          </ac:spMkLst>
        </pc:spChg>
        <pc:spChg chg="del">
          <ac:chgData name="Hesse, Thomas Dr." userId="661ed4e0-7782-4a1c-9bc8-dd191b47db53" providerId="ADAL" clId="{C7B830A9-0123-4835-A836-7B72F5B1B7D9}" dt="2024-06-05T16:31:57.556" v="9508"/>
          <ac:spMkLst>
            <pc:docMk/>
            <pc:sldMk cId="1862174294" sldId="437"/>
            <ac:spMk id="16" creationId="{B6D44F35-5BE4-4B77-B3C1-09A0062E2D7D}"/>
          </ac:spMkLst>
        </pc:spChg>
        <pc:spChg chg="del">
          <ac:chgData name="Hesse, Thomas Dr." userId="661ed4e0-7782-4a1c-9bc8-dd191b47db53" providerId="ADAL" clId="{C7B830A9-0123-4835-A836-7B72F5B1B7D9}" dt="2024-06-05T16:31:57.556" v="9510"/>
          <ac:spMkLst>
            <pc:docMk/>
            <pc:sldMk cId="1862174294" sldId="437"/>
            <ac:spMk id="17" creationId="{188A44A1-90B2-4719-B50D-B1923DD2398F}"/>
          </ac:spMkLst>
        </pc:spChg>
        <pc:spChg chg="del">
          <ac:chgData name="Hesse, Thomas Dr." userId="661ed4e0-7782-4a1c-9bc8-dd191b47db53" providerId="ADAL" clId="{C7B830A9-0123-4835-A836-7B72F5B1B7D9}" dt="2024-06-05T16:31:57.557" v="9512"/>
          <ac:spMkLst>
            <pc:docMk/>
            <pc:sldMk cId="1862174294" sldId="437"/>
            <ac:spMk id="18" creationId="{FC093E87-1577-48CA-AB00-5C075EC783E1}"/>
          </ac:spMkLst>
        </pc:spChg>
        <pc:spChg chg="del">
          <ac:chgData name="Hesse, Thomas Dr." userId="661ed4e0-7782-4a1c-9bc8-dd191b47db53" providerId="ADAL" clId="{C7B830A9-0123-4835-A836-7B72F5B1B7D9}" dt="2024-06-05T16:31:57.557" v="9514"/>
          <ac:spMkLst>
            <pc:docMk/>
            <pc:sldMk cId="1862174294" sldId="437"/>
            <ac:spMk id="19" creationId="{96198067-EF66-432A-B593-0471F4DEE70C}"/>
          </ac:spMkLst>
        </pc:spChg>
        <pc:spChg chg="del">
          <ac:chgData name="Hesse, Thomas Dr." userId="661ed4e0-7782-4a1c-9bc8-dd191b47db53" providerId="ADAL" clId="{C7B830A9-0123-4835-A836-7B72F5B1B7D9}" dt="2024-06-05T16:31:57.558" v="9516"/>
          <ac:spMkLst>
            <pc:docMk/>
            <pc:sldMk cId="1862174294" sldId="437"/>
            <ac:spMk id="20" creationId="{3390C302-6E15-464C-AFBA-0E957A7D82EF}"/>
          </ac:spMkLst>
        </pc:spChg>
        <pc:spChg chg="del">
          <ac:chgData name="Hesse, Thomas Dr." userId="661ed4e0-7782-4a1c-9bc8-dd191b47db53" providerId="ADAL" clId="{C7B830A9-0123-4835-A836-7B72F5B1B7D9}" dt="2024-06-05T16:31:57.559" v="9523"/>
          <ac:spMkLst>
            <pc:docMk/>
            <pc:sldMk cId="1862174294" sldId="437"/>
            <ac:spMk id="21" creationId="{B327EFC2-AAF0-99F4-8743-4A5F7196D385}"/>
          </ac:spMkLst>
        </pc:spChg>
        <pc:spChg chg="add mod">
          <ac:chgData name="Hesse, Thomas Dr." userId="661ed4e0-7782-4a1c-9bc8-dd191b47db53" providerId="ADAL" clId="{C7B830A9-0123-4835-A836-7B72F5B1B7D9}" dt="2024-06-05T16:31:57.559" v="9522"/>
          <ac:spMkLst>
            <pc:docMk/>
            <pc:sldMk cId="1862174294" sldId="437"/>
            <ac:spMk id="23" creationId="{73126F4B-7F63-3BBF-391D-88CD3063A106}"/>
          </ac:spMkLst>
        </pc:spChg>
        <pc:spChg chg="del">
          <ac:chgData name="Hesse, Thomas Dr." userId="661ed4e0-7782-4a1c-9bc8-dd191b47db53" providerId="ADAL" clId="{C7B830A9-0123-4835-A836-7B72F5B1B7D9}" dt="2024-06-05T16:31:57.558" v="9521"/>
          <ac:spMkLst>
            <pc:docMk/>
            <pc:sldMk cId="1862174294" sldId="437"/>
            <ac:spMk id="26" creationId="{023B7C00-34D3-635C-E807-EB002A3B02F8}"/>
          </ac:spMkLst>
        </pc:spChg>
        <pc:spChg chg="add mod">
          <ac:chgData name="Hesse, Thomas Dr." userId="661ed4e0-7782-4a1c-9bc8-dd191b47db53" providerId="ADAL" clId="{C7B830A9-0123-4835-A836-7B72F5B1B7D9}" dt="2024-06-05T16:31:57.559" v="9524"/>
          <ac:spMkLst>
            <pc:docMk/>
            <pc:sldMk cId="1862174294" sldId="437"/>
            <ac:spMk id="27" creationId="{4470923D-CA9D-5FFA-1411-22E71E34E986}"/>
          </ac:spMkLst>
        </pc:spChg>
        <pc:grpChg chg="del">
          <ac:chgData name="Hesse, Thomas Dr." userId="661ed4e0-7782-4a1c-9bc8-dd191b47db53" providerId="ADAL" clId="{C7B830A9-0123-4835-A836-7B72F5B1B7D9}" dt="2024-06-05T16:31:57.558" v="9518"/>
          <ac:grpSpMkLst>
            <pc:docMk/>
            <pc:sldMk cId="1862174294" sldId="437"/>
            <ac:grpSpMk id="25" creationId="{F6C87C0E-1651-4964-8214-4B8A6FB75CB9}"/>
          </ac:grpSpMkLst>
        </pc:grpChg>
        <pc:grpChg chg="del">
          <ac:chgData name="Hesse, Thomas Dr." userId="661ed4e0-7782-4a1c-9bc8-dd191b47db53" providerId="ADAL" clId="{C7B830A9-0123-4835-A836-7B72F5B1B7D9}" dt="2024-06-05T16:31:57.558" v="9520"/>
          <ac:grpSpMkLst>
            <pc:docMk/>
            <pc:sldMk cId="1862174294" sldId="437"/>
            <ac:grpSpMk id="38" creationId="{87C5E346-AF66-4E9A-974F-0E5F30CEFFFD}"/>
          </ac:grpSpMkLst>
        </pc:grpChg>
        <pc:grpChg chg="del">
          <ac:chgData name="Hesse, Thomas Dr." userId="661ed4e0-7782-4a1c-9bc8-dd191b47db53" providerId="ADAL" clId="{C7B830A9-0123-4835-A836-7B72F5B1B7D9}" dt="2024-06-05T16:31:57.551" v="9488"/>
          <ac:grpSpMkLst>
            <pc:docMk/>
            <pc:sldMk cId="1862174294" sldId="437"/>
            <ac:grpSpMk id="40" creationId="{EEEB7333-A87C-49F3-AC60-28B4A000FD3E}"/>
          </ac:grpSpMkLst>
        </pc:grpChg>
        <pc:grpChg chg="del">
          <ac:chgData name="Hesse, Thomas Dr." userId="661ed4e0-7782-4a1c-9bc8-dd191b47db53" providerId="ADAL" clId="{C7B830A9-0123-4835-A836-7B72F5B1B7D9}" dt="2024-06-05T16:31:57.551" v="9486"/>
          <ac:grpSpMkLst>
            <pc:docMk/>
            <pc:sldMk cId="1862174294" sldId="437"/>
            <ac:grpSpMk id="41" creationId="{1A8D0AF9-D849-489E-955F-E4F60B6BF84B}"/>
          </ac:grpSpMkLst>
        </pc:grpChg>
      </pc:sldChg>
      <pc:sldChg chg="modSp del mod">
        <pc:chgData name="Hesse, Thomas Dr." userId="661ed4e0-7782-4a1c-9bc8-dd191b47db53" providerId="ADAL" clId="{C7B830A9-0123-4835-A836-7B72F5B1B7D9}" dt="2024-06-05T13:25:19.815" v="6341" actId="2696"/>
        <pc:sldMkLst>
          <pc:docMk/>
          <pc:sldMk cId="2902325613" sldId="1347"/>
        </pc:sldMkLst>
        <pc:spChg chg="mod">
          <ac:chgData name="Hesse, Thomas Dr." userId="661ed4e0-7782-4a1c-9bc8-dd191b47db53" providerId="ADAL" clId="{C7B830A9-0123-4835-A836-7B72F5B1B7D9}" dt="2024-06-05T09:22:18.859" v="4353" actId="20577"/>
          <ac:spMkLst>
            <pc:docMk/>
            <pc:sldMk cId="2902325613" sldId="1347"/>
            <ac:spMk id="12" creationId="{F5117535-742F-411C-A026-B9C8A555B938}"/>
          </ac:spMkLst>
        </pc:spChg>
        <pc:spChg chg="mod">
          <ac:chgData name="Hesse, Thomas Dr." userId="661ed4e0-7782-4a1c-9bc8-dd191b47db53" providerId="ADAL" clId="{C7B830A9-0123-4835-A836-7B72F5B1B7D9}" dt="2024-06-05T09:22:18.860" v="4354" actId="20577"/>
          <ac:spMkLst>
            <pc:docMk/>
            <pc:sldMk cId="2902325613" sldId="1347"/>
            <ac:spMk id="19" creationId="{06AC11E1-74AE-4878-B181-B3DF103593C4}"/>
          </ac:spMkLst>
        </pc:spChg>
        <pc:spChg chg="mod">
          <ac:chgData name="Hesse, Thomas Dr." userId="661ed4e0-7782-4a1c-9bc8-dd191b47db53" providerId="ADAL" clId="{C7B830A9-0123-4835-A836-7B72F5B1B7D9}" dt="2024-06-05T09:22:18.861" v="4355" actId="20577"/>
          <ac:spMkLst>
            <pc:docMk/>
            <pc:sldMk cId="2902325613" sldId="1347"/>
            <ac:spMk id="26" creationId="{8EA34468-D92B-418D-8F41-33CD175114FB}"/>
          </ac:spMkLst>
        </pc:spChg>
      </pc:sldChg>
      <pc:sldChg chg="modSp del mod">
        <pc:chgData name="Hesse, Thomas Dr." userId="661ed4e0-7782-4a1c-9bc8-dd191b47db53" providerId="ADAL" clId="{C7B830A9-0123-4835-A836-7B72F5B1B7D9}" dt="2024-06-05T13:25:19.834" v="6343" actId="2696"/>
        <pc:sldMkLst>
          <pc:docMk/>
          <pc:sldMk cId="2854857620" sldId="1348"/>
        </pc:sldMkLst>
        <pc:spChg chg="mod">
          <ac:chgData name="Hesse, Thomas Dr." userId="661ed4e0-7782-4a1c-9bc8-dd191b47db53" providerId="ADAL" clId="{C7B830A9-0123-4835-A836-7B72F5B1B7D9}" dt="2024-06-05T09:22:18.862" v="4356" actId="20577"/>
          <ac:spMkLst>
            <pc:docMk/>
            <pc:sldMk cId="2854857620" sldId="1348"/>
            <ac:spMk id="19" creationId="{06AC11E1-74AE-4878-B181-B3DF103593C4}"/>
          </ac:spMkLst>
        </pc:spChg>
        <pc:spChg chg="mod">
          <ac:chgData name="Hesse, Thomas Dr." userId="661ed4e0-7782-4a1c-9bc8-dd191b47db53" providerId="ADAL" clId="{C7B830A9-0123-4835-A836-7B72F5B1B7D9}" dt="2024-06-05T09:22:18.863" v="4357" actId="20577"/>
          <ac:spMkLst>
            <pc:docMk/>
            <pc:sldMk cId="2854857620" sldId="1348"/>
            <ac:spMk id="26" creationId="{8EA34468-D92B-418D-8F41-33CD175114FB}"/>
          </ac:spMkLst>
        </pc:spChg>
        <pc:spChg chg="mod">
          <ac:chgData name="Hesse, Thomas Dr." userId="661ed4e0-7782-4a1c-9bc8-dd191b47db53" providerId="ADAL" clId="{C7B830A9-0123-4835-A836-7B72F5B1B7D9}" dt="2024-06-05T09:22:18.864" v="4358" actId="20577"/>
          <ac:spMkLst>
            <pc:docMk/>
            <pc:sldMk cId="2854857620" sldId="1348"/>
            <ac:spMk id="34" creationId="{3A0085C9-5D65-4FB9-9638-1A3888A83E15}"/>
          </ac:spMkLst>
        </pc:spChg>
        <pc:spChg chg="mod">
          <ac:chgData name="Hesse, Thomas Dr." userId="661ed4e0-7782-4a1c-9bc8-dd191b47db53" providerId="ADAL" clId="{C7B830A9-0123-4835-A836-7B72F5B1B7D9}" dt="2024-06-05T09:22:18.864" v="4359" actId="20577"/>
          <ac:spMkLst>
            <pc:docMk/>
            <pc:sldMk cId="2854857620" sldId="1348"/>
            <ac:spMk id="35" creationId="{83B0FDE8-DEB7-44B6-A792-BB02935F6694}"/>
          </ac:spMkLst>
        </pc:spChg>
      </pc:sldChg>
      <pc:sldChg chg="modSp del mod">
        <pc:chgData name="Hesse, Thomas Dr." userId="661ed4e0-7782-4a1c-9bc8-dd191b47db53" providerId="ADAL" clId="{C7B830A9-0123-4835-A836-7B72F5B1B7D9}" dt="2024-06-05T13:25:19.849" v="6344" actId="2696"/>
        <pc:sldMkLst>
          <pc:docMk/>
          <pc:sldMk cId="4018740351" sldId="1349"/>
        </pc:sldMkLst>
        <pc:spChg chg="mod">
          <ac:chgData name="Hesse, Thomas Dr." userId="661ed4e0-7782-4a1c-9bc8-dd191b47db53" providerId="ADAL" clId="{C7B830A9-0123-4835-A836-7B72F5B1B7D9}" dt="2024-06-05T09:22:18.865" v="4360" actId="20577"/>
          <ac:spMkLst>
            <pc:docMk/>
            <pc:sldMk cId="4018740351" sldId="1349"/>
            <ac:spMk id="12" creationId="{F5117535-742F-411C-A026-B9C8A555B938}"/>
          </ac:spMkLst>
        </pc:spChg>
        <pc:spChg chg="mod">
          <ac:chgData name="Hesse, Thomas Dr." userId="661ed4e0-7782-4a1c-9bc8-dd191b47db53" providerId="ADAL" clId="{C7B830A9-0123-4835-A836-7B72F5B1B7D9}" dt="2024-06-05T09:22:18.866" v="4361" actId="20577"/>
          <ac:spMkLst>
            <pc:docMk/>
            <pc:sldMk cId="4018740351" sldId="1349"/>
            <ac:spMk id="26" creationId="{8EA34468-D92B-418D-8F41-33CD175114FB}"/>
          </ac:spMkLst>
        </pc:spChg>
        <pc:spChg chg="mod">
          <ac:chgData name="Hesse, Thomas Dr." userId="661ed4e0-7782-4a1c-9bc8-dd191b47db53" providerId="ADAL" clId="{C7B830A9-0123-4835-A836-7B72F5B1B7D9}" dt="2024-06-05T09:22:18.867" v="4362" actId="20577"/>
          <ac:spMkLst>
            <pc:docMk/>
            <pc:sldMk cId="4018740351" sldId="1349"/>
            <ac:spMk id="34" creationId="{AA5DC5E3-D2FA-45D1-BAE1-8293E0A389F8}"/>
          </ac:spMkLst>
        </pc:spChg>
        <pc:spChg chg="mod">
          <ac:chgData name="Hesse, Thomas Dr." userId="661ed4e0-7782-4a1c-9bc8-dd191b47db53" providerId="ADAL" clId="{C7B830A9-0123-4835-A836-7B72F5B1B7D9}" dt="2024-06-05T09:22:18.868" v="4363" actId="20577"/>
          <ac:spMkLst>
            <pc:docMk/>
            <pc:sldMk cId="4018740351" sldId="1349"/>
            <ac:spMk id="35" creationId="{E6D3B449-D32E-4A01-8A44-BF19338E2D3C}"/>
          </ac:spMkLst>
        </pc:spChg>
      </pc:sldChg>
      <pc:sldChg chg="modSp del mod">
        <pc:chgData name="Hesse, Thomas Dr." userId="661ed4e0-7782-4a1c-9bc8-dd191b47db53" providerId="ADAL" clId="{C7B830A9-0123-4835-A836-7B72F5B1B7D9}" dt="2024-06-05T13:25:19.819" v="6342" actId="2696"/>
        <pc:sldMkLst>
          <pc:docMk/>
          <pc:sldMk cId="1935632513" sldId="1350"/>
        </pc:sldMkLst>
        <pc:spChg chg="mod">
          <ac:chgData name="Hesse, Thomas Dr." userId="661ed4e0-7782-4a1c-9bc8-dd191b47db53" providerId="ADAL" clId="{C7B830A9-0123-4835-A836-7B72F5B1B7D9}" dt="2024-06-05T09:22:18.869" v="4364" actId="20577"/>
          <ac:spMkLst>
            <pc:docMk/>
            <pc:sldMk cId="1935632513" sldId="1350"/>
            <ac:spMk id="12" creationId="{F5117535-742F-411C-A026-B9C8A555B938}"/>
          </ac:spMkLst>
        </pc:spChg>
        <pc:spChg chg="mod">
          <ac:chgData name="Hesse, Thomas Dr." userId="661ed4e0-7782-4a1c-9bc8-dd191b47db53" providerId="ADAL" clId="{C7B830A9-0123-4835-A836-7B72F5B1B7D9}" dt="2024-06-05T09:22:18.869" v="4365" actId="20577"/>
          <ac:spMkLst>
            <pc:docMk/>
            <pc:sldMk cId="1935632513" sldId="1350"/>
            <ac:spMk id="19" creationId="{06AC11E1-74AE-4878-B181-B3DF103593C4}"/>
          </ac:spMkLst>
        </pc:spChg>
        <pc:spChg chg="mod">
          <ac:chgData name="Hesse, Thomas Dr." userId="661ed4e0-7782-4a1c-9bc8-dd191b47db53" providerId="ADAL" clId="{C7B830A9-0123-4835-A836-7B72F5B1B7D9}" dt="2024-06-05T09:22:18.870" v="4366" actId="20577"/>
          <ac:spMkLst>
            <pc:docMk/>
            <pc:sldMk cId="1935632513" sldId="1350"/>
            <ac:spMk id="34" creationId="{FEC83A30-515E-4E83-B97A-B1B22DD1E825}"/>
          </ac:spMkLst>
        </pc:spChg>
        <pc:spChg chg="mod">
          <ac:chgData name="Hesse, Thomas Dr." userId="661ed4e0-7782-4a1c-9bc8-dd191b47db53" providerId="ADAL" clId="{C7B830A9-0123-4835-A836-7B72F5B1B7D9}" dt="2024-06-05T09:22:18.871" v="4367" actId="20577"/>
          <ac:spMkLst>
            <pc:docMk/>
            <pc:sldMk cId="1935632513" sldId="1350"/>
            <ac:spMk id="35" creationId="{468BAF7D-0818-4F00-A85B-D19474B8EFDF}"/>
          </ac:spMkLst>
        </pc:spChg>
      </pc:sldChg>
      <pc:sldChg chg="modSp add del mod ord">
        <pc:chgData name="Hesse, Thomas Dr." userId="661ed4e0-7782-4a1c-9bc8-dd191b47db53" providerId="ADAL" clId="{C7B830A9-0123-4835-A836-7B72F5B1B7D9}" dt="2024-06-05T13:32:32.009" v="6615" actId="47"/>
        <pc:sldMkLst>
          <pc:docMk/>
          <pc:sldMk cId="390142402" sldId="1352"/>
        </pc:sldMkLst>
        <pc:spChg chg="mod">
          <ac:chgData name="Hesse, Thomas Dr." userId="661ed4e0-7782-4a1c-9bc8-dd191b47db53" providerId="ADAL" clId="{C7B830A9-0123-4835-A836-7B72F5B1B7D9}" dt="2024-06-05T13:25:51.801" v="6375" actId="313"/>
          <ac:spMkLst>
            <pc:docMk/>
            <pc:sldMk cId="390142402" sldId="1352"/>
            <ac:spMk id="2" creationId="{CF40BF5C-03B7-465A-97C6-DD3B9D4DBEC7}"/>
          </ac:spMkLst>
        </pc:spChg>
      </pc:sldChg>
      <pc:sldChg chg="modSp add del mod ord">
        <pc:chgData name="Hesse, Thomas Dr." userId="661ed4e0-7782-4a1c-9bc8-dd191b47db53" providerId="ADAL" clId="{C7B830A9-0123-4835-A836-7B72F5B1B7D9}" dt="2024-06-05T13:32:32.009" v="6615" actId="47"/>
        <pc:sldMkLst>
          <pc:docMk/>
          <pc:sldMk cId="3450477748" sldId="1353"/>
        </pc:sldMkLst>
        <pc:spChg chg="mod">
          <ac:chgData name="Hesse, Thomas Dr." userId="661ed4e0-7782-4a1c-9bc8-dd191b47db53" providerId="ADAL" clId="{C7B830A9-0123-4835-A836-7B72F5B1B7D9}" dt="2024-06-05T13:25:55.984" v="6381" actId="313"/>
          <ac:spMkLst>
            <pc:docMk/>
            <pc:sldMk cId="3450477748" sldId="1353"/>
            <ac:spMk id="2" creationId="{0EDE9242-CB79-48A6-BE7E-F66A59144C6B}"/>
          </ac:spMkLst>
        </pc:spChg>
      </pc:sldChg>
      <pc:sldChg chg="modSp add del mod ord">
        <pc:chgData name="Hesse, Thomas Dr." userId="661ed4e0-7782-4a1c-9bc8-dd191b47db53" providerId="ADAL" clId="{C7B830A9-0123-4835-A836-7B72F5B1B7D9}" dt="2024-06-05T13:32:32.009" v="6615" actId="47"/>
        <pc:sldMkLst>
          <pc:docMk/>
          <pc:sldMk cId="791055820" sldId="1354"/>
        </pc:sldMkLst>
        <pc:spChg chg="mod">
          <ac:chgData name="Hesse, Thomas Dr." userId="661ed4e0-7782-4a1c-9bc8-dd191b47db53" providerId="ADAL" clId="{C7B830A9-0123-4835-A836-7B72F5B1B7D9}" dt="2024-06-05T13:25:54.632" v="6379" actId="313"/>
          <ac:spMkLst>
            <pc:docMk/>
            <pc:sldMk cId="791055820" sldId="1354"/>
            <ac:spMk id="2" creationId="{77E0499E-1B3B-40DC-96C0-D6D083B16595}"/>
          </ac:spMkLst>
        </pc:spChg>
      </pc:sldChg>
      <pc:sldChg chg="modSp add del mod ord">
        <pc:chgData name="Hesse, Thomas Dr." userId="661ed4e0-7782-4a1c-9bc8-dd191b47db53" providerId="ADAL" clId="{C7B830A9-0123-4835-A836-7B72F5B1B7D9}" dt="2024-06-05T13:32:32.009" v="6615" actId="47"/>
        <pc:sldMkLst>
          <pc:docMk/>
          <pc:sldMk cId="3013167156" sldId="1355"/>
        </pc:sldMkLst>
        <pc:spChg chg="mod">
          <ac:chgData name="Hesse, Thomas Dr." userId="661ed4e0-7782-4a1c-9bc8-dd191b47db53" providerId="ADAL" clId="{C7B830A9-0123-4835-A836-7B72F5B1B7D9}" dt="2024-06-05T13:25:57.288" v="6383" actId="313"/>
          <ac:spMkLst>
            <pc:docMk/>
            <pc:sldMk cId="3013167156" sldId="1355"/>
            <ac:spMk id="2" creationId="{4B37A3E3-03B6-4D3F-807D-7650A7719E24}"/>
          </ac:spMkLst>
        </pc:spChg>
      </pc:sldChg>
      <pc:sldChg chg="modSp add del mod ord">
        <pc:chgData name="Hesse, Thomas Dr." userId="661ed4e0-7782-4a1c-9bc8-dd191b47db53" providerId="ADAL" clId="{C7B830A9-0123-4835-A836-7B72F5B1B7D9}" dt="2024-06-05T13:32:32.009" v="6615" actId="47"/>
        <pc:sldMkLst>
          <pc:docMk/>
          <pc:sldMk cId="1195004853" sldId="1356"/>
        </pc:sldMkLst>
        <pc:spChg chg="mod">
          <ac:chgData name="Hesse, Thomas Dr." userId="661ed4e0-7782-4a1c-9bc8-dd191b47db53" providerId="ADAL" clId="{C7B830A9-0123-4835-A836-7B72F5B1B7D9}" dt="2024-06-05T13:25:57.897" v="6384" actId="313"/>
          <ac:spMkLst>
            <pc:docMk/>
            <pc:sldMk cId="1195004853" sldId="1356"/>
            <ac:spMk id="2" creationId="{D05E4AD4-2E8C-48A2-938F-C3B137E585BD}"/>
          </ac:spMkLst>
        </pc:spChg>
      </pc:sldChg>
      <pc:sldChg chg="modSp add del mod ord">
        <pc:chgData name="Hesse, Thomas Dr." userId="661ed4e0-7782-4a1c-9bc8-dd191b47db53" providerId="ADAL" clId="{C7B830A9-0123-4835-A836-7B72F5B1B7D9}" dt="2024-06-05T13:32:32.009" v="6615" actId="47"/>
        <pc:sldMkLst>
          <pc:docMk/>
          <pc:sldMk cId="807508116" sldId="1357"/>
        </pc:sldMkLst>
        <pc:spChg chg="mod">
          <ac:chgData name="Hesse, Thomas Dr." userId="661ed4e0-7782-4a1c-9bc8-dd191b47db53" providerId="ADAL" clId="{C7B830A9-0123-4835-A836-7B72F5B1B7D9}" dt="2024-06-05T13:26:01.297" v="6388" actId="313"/>
          <ac:spMkLst>
            <pc:docMk/>
            <pc:sldMk cId="807508116" sldId="1357"/>
            <ac:spMk id="2" creationId="{A581F773-50C6-4201-AA77-159D242326AB}"/>
          </ac:spMkLst>
        </pc:spChg>
      </pc:sldChg>
      <pc:sldChg chg="modSp add del mod ord">
        <pc:chgData name="Hesse, Thomas Dr." userId="661ed4e0-7782-4a1c-9bc8-dd191b47db53" providerId="ADAL" clId="{C7B830A9-0123-4835-A836-7B72F5B1B7D9}" dt="2024-06-05T13:32:32.009" v="6615" actId="47"/>
        <pc:sldMkLst>
          <pc:docMk/>
          <pc:sldMk cId="4093543066" sldId="1358"/>
        </pc:sldMkLst>
        <pc:spChg chg="mod">
          <ac:chgData name="Hesse, Thomas Dr." userId="661ed4e0-7782-4a1c-9bc8-dd191b47db53" providerId="ADAL" clId="{C7B830A9-0123-4835-A836-7B72F5B1B7D9}" dt="2024-06-05T13:26:01.968" v="6389" actId="313"/>
          <ac:spMkLst>
            <pc:docMk/>
            <pc:sldMk cId="4093543066" sldId="1358"/>
            <ac:spMk id="2" creationId="{B13FDCCC-FEC3-4900-8BA1-A8B99151C844}"/>
          </ac:spMkLst>
        </pc:spChg>
      </pc:sldChg>
      <pc:sldChg chg="modSp add del mod ord">
        <pc:chgData name="Hesse, Thomas Dr." userId="661ed4e0-7782-4a1c-9bc8-dd191b47db53" providerId="ADAL" clId="{C7B830A9-0123-4835-A836-7B72F5B1B7D9}" dt="2024-06-05T13:32:32.009" v="6615" actId="47"/>
        <pc:sldMkLst>
          <pc:docMk/>
          <pc:sldMk cId="919163215" sldId="1359"/>
        </pc:sldMkLst>
        <pc:spChg chg="mod">
          <ac:chgData name="Hesse, Thomas Dr." userId="661ed4e0-7782-4a1c-9bc8-dd191b47db53" providerId="ADAL" clId="{C7B830A9-0123-4835-A836-7B72F5B1B7D9}" dt="2024-06-05T13:26:04.639" v="6393" actId="313"/>
          <ac:spMkLst>
            <pc:docMk/>
            <pc:sldMk cId="919163215" sldId="1359"/>
            <ac:spMk id="2" creationId="{533EFDBB-EF2F-4DEB-991A-39A919BA52E9}"/>
          </ac:spMkLst>
        </pc:spChg>
      </pc:sldChg>
      <pc:sldChg chg="modSp add del mod ord">
        <pc:chgData name="Hesse, Thomas Dr." userId="661ed4e0-7782-4a1c-9bc8-dd191b47db53" providerId="ADAL" clId="{C7B830A9-0123-4835-A836-7B72F5B1B7D9}" dt="2024-06-05T13:32:32.009" v="6615" actId="47"/>
        <pc:sldMkLst>
          <pc:docMk/>
          <pc:sldMk cId="49344569" sldId="1360"/>
        </pc:sldMkLst>
        <pc:spChg chg="mod">
          <ac:chgData name="Hesse, Thomas Dr." userId="661ed4e0-7782-4a1c-9bc8-dd191b47db53" providerId="ADAL" clId="{C7B830A9-0123-4835-A836-7B72F5B1B7D9}" dt="2024-06-05T13:25:59.817" v="6386" actId="313"/>
          <ac:spMkLst>
            <pc:docMk/>
            <pc:sldMk cId="49344569" sldId="1360"/>
            <ac:spMk id="2" creationId="{8D3965E5-2BF4-4A61-8718-ADB8870CF5F9}"/>
          </ac:spMkLst>
        </pc:spChg>
      </pc:sldChg>
      <pc:sldChg chg="modSp add del mod ord">
        <pc:chgData name="Hesse, Thomas Dr." userId="661ed4e0-7782-4a1c-9bc8-dd191b47db53" providerId="ADAL" clId="{C7B830A9-0123-4835-A836-7B72F5B1B7D9}" dt="2024-06-05T13:32:32.009" v="6615" actId="47"/>
        <pc:sldMkLst>
          <pc:docMk/>
          <pc:sldMk cId="927447226" sldId="1361"/>
        </pc:sldMkLst>
        <pc:spChg chg="mod">
          <ac:chgData name="Hesse, Thomas Dr." userId="661ed4e0-7782-4a1c-9bc8-dd191b47db53" providerId="ADAL" clId="{C7B830A9-0123-4835-A836-7B72F5B1B7D9}" dt="2024-06-05T13:26:00.538" v="6387" actId="313"/>
          <ac:spMkLst>
            <pc:docMk/>
            <pc:sldMk cId="927447226" sldId="1361"/>
            <ac:spMk id="2" creationId="{70DD5BDD-4372-467E-ADB7-C22F11FD1CCE}"/>
          </ac:spMkLst>
        </pc:spChg>
      </pc:sldChg>
      <pc:sldChg chg="modSp add del mod ord">
        <pc:chgData name="Hesse, Thomas Dr." userId="661ed4e0-7782-4a1c-9bc8-dd191b47db53" providerId="ADAL" clId="{C7B830A9-0123-4835-A836-7B72F5B1B7D9}" dt="2024-06-05T13:32:32.009" v="6615" actId="47"/>
        <pc:sldMkLst>
          <pc:docMk/>
          <pc:sldMk cId="1565738427" sldId="1367"/>
        </pc:sldMkLst>
        <pc:spChg chg="mod">
          <ac:chgData name="Hesse, Thomas Dr." userId="661ed4e0-7782-4a1c-9bc8-dd191b47db53" providerId="ADAL" clId="{C7B830A9-0123-4835-A836-7B72F5B1B7D9}" dt="2024-06-05T13:26:02.665" v="6390" actId="313"/>
          <ac:spMkLst>
            <pc:docMk/>
            <pc:sldMk cId="1565738427" sldId="1367"/>
            <ac:spMk id="2" creationId="{48EAE544-0542-4C36-86CA-4EDB15EA4408}"/>
          </ac:spMkLst>
        </pc:spChg>
      </pc:sldChg>
      <pc:sldChg chg="modSp add del mod ord">
        <pc:chgData name="Hesse, Thomas Dr." userId="661ed4e0-7782-4a1c-9bc8-dd191b47db53" providerId="ADAL" clId="{C7B830A9-0123-4835-A836-7B72F5B1B7D9}" dt="2024-06-05T13:32:32.009" v="6615" actId="47"/>
        <pc:sldMkLst>
          <pc:docMk/>
          <pc:sldMk cId="1771177138" sldId="1368"/>
        </pc:sldMkLst>
        <pc:spChg chg="mod">
          <ac:chgData name="Hesse, Thomas Dr." userId="661ed4e0-7782-4a1c-9bc8-dd191b47db53" providerId="ADAL" clId="{C7B830A9-0123-4835-A836-7B72F5B1B7D9}" dt="2024-06-05T13:25:56.689" v="6382" actId="313"/>
          <ac:spMkLst>
            <pc:docMk/>
            <pc:sldMk cId="1771177138" sldId="1368"/>
            <ac:spMk id="2" creationId="{311346DD-084C-4724-BEFE-8CFED3AC4590}"/>
          </ac:spMkLst>
        </pc:spChg>
      </pc:sldChg>
      <pc:sldChg chg="modSp add del mod ord">
        <pc:chgData name="Hesse, Thomas Dr." userId="661ed4e0-7782-4a1c-9bc8-dd191b47db53" providerId="ADAL" clId="{C7B830A9-0123-4835-A836-7B72F5B1B7D9}" dt="2024-06-05T13:32:32.009" v="6615" actId="47"/>
        <pc:sldMkLst>
          <pc:docMk/>
          <pc:sldMk cId="3721132263" sldId="1369"/>
        </pc:sldMkLst>
        <pc:spChg chg="mod">
          <ac:chgData name="Hesse, Thomas Dr." userId="661ed4e0-7782-4a1c-9bc8-dd191b47db53" providerId="ADAL" clId="{C7B830A9-0123-4835-A836-7B72F5B1B7D9}" dt="2024-06-05T13:25:58.527" v="6385" actId="313"/>
          <ac:spMkLst>
            <pc:docMk/>
            <pc:sldMk cId="3721132263" sldId="1369"/>
            <ac:spMk id="2" creationId="{017A97A3-35B6-429B-962F-F4E17CA45A46}"/>
          </ac:spMkLst>
        </pc:spChg>
      </pc:sldChg>
      <pc:sldChg chg="modSp add del mod ord">
        <pc:chgData name="Hesse, Thomas Dr." userId="661ed4e0-7782-4a1c-9bc8-dd191b47db53" providerId="ADAL" clId="{C7B830A9-0123-4835-A836-7B72F5B1B7D9}" dt="2024-06-05T13:32:32.009" v="6615" actId="47"/>
        <pc:sldMkLst>
          <pc:docMk/>
          <pc:sldMk cId="4205088864" sldId="1370"/>
        </pc:sldMkLst>
        <pc:spChg chg="mod">
          <ac:chgData name="Hesse, Thomas Dr." userId="661ed4e0-7782-4a1c-9bc8-dd191b47db53" providerId="ADAL" clId="{C7B830A9-0123-4835-A836-7B72F5B1B7D9}" dt="2024-06-05T13:25:55.377" v="6380" actId="313"/>
          <ac:spMkLst>
            <pc:docMk/>
            <pc:sldMk cId="4205088864" sldId="1370"/>
            <ac:spMk id="2" creationId="{69696A8A-EB21-4DA7-86CB-3E0D4A0908DB}"/>
          </ac:spMkLst>
        </pc:spChg>
      </pc:sldChg>
      <pc:sldChg chg="modSp add del mod ord">
        <pc:chgData name="Hesse, Thomas Dr." userId="661ed4e0-7782-4a1c-9bc8-dd191b47db53" providerId="ADAL" clId="{C7B830A9-0123-4835-A836-7B72F5B1B7D9}" dt="2024-06-05T13:32:32.009" v="6615" actId="47"/>
        <pc:sldMkLst>
          <pc:docMk/>
          <pc:sldMk cId="773043466" sldId="1371"/>
        </pc:sldMkLst>
        <pc:spChg chg="mod">
          <ac:chgData name="Hesse, Thomas Dr." userId="661ed4e0-7782-4a1c-9bc8-dd191b47db53" providerId="ADAL" clId="{C7B830A9-0123-4835-A836-7B72F5B1B7D9}" dt="2024-06-05T13:26:03.983" v="6392" actId="313"/>
          <ac:spMkLst>
            <pc:docMk/>
            <pc:sldMk cId="773043466" sldId="1371"/>
            <ac:spMk id="2" creationId="{48EAE544-0542-4C36-86CA-4EDB15EA4408}"/>
          </ac:spMkLst>
        </pc:spChg>
      </pc:sldChg>
      <pc:sldChg chg="modSp add del mod ord">
        <pc:chgData name="Hesse, Thomas Dr." userId="661ed4e0-7782-4a1c-9bc8-dd191b47db53" providerId="ADAL" clId="{C7B830A9-0123-4835-A836-7B72F5B1B7D9}" dt="2024-06-05T13:32:32.009" v="6615" actId="47"/>
        <pc:sldMkLst>
          <pc:docMk/>
          <pc:sldMk cId="3466192192" sldId="1372"/>
        </pc:sldMkLst>
        <pc:spChg chg="mod">
          <ac:chgData name="Hesse, Thomas Dr." userId="661ed4e0-7782-4a1c-9bc8-dd191b47db53" providerId="ADAL" clId="{C7B830A9-0123-4835-A836-7B72F5B1B7D9}" dt="2024-06-05T13:26:03.353" v="6391" actId="313"/>
          <ac:spMkLst>
            <pc:docMk/>
            <pc:sldMk cId="3466192192" sldId="1372"/>
            <ac:spMk id="2" creationId="{48EAE544-0542-4C36-86CA-4EDB15EA4408}"/>
          </ac:spMkLst>
        </pc:spChg>
      </pc:sldChg>
      <pc:sldChg chg="modSp add del mod ord">
        <pc:chgData name="Hesse, Thomas Dr." userId="661ed4e0-7782-4a1c-9bc8-dd191b47db53" providerId="ADAL" clId="{C7B830A9-0123-4835-A836-7B72F5B1B7D9}" dt="2024-06-05T13:32:32.009" v="6615" actId="47"/>
        <pc:sldMkLst>
          <pc:docMk/>
          <pc:sldMk cId="2972490258" sldId="1373"/>
        </pc:sldMkLst>
        <pc:spChg chg="mod">
          <ac:chgData name="Hesse, Thomas Dr." userId="661ed4e0-7782-4a1c-9bc8-dd191b47db53" providerId="ADAL" clId="{C7B830A9-0123-4835-A836-7B72F5B1B7D9}" dt="2024-06-05T13:25:52.376" v="6376" actId="313"/>
          <ac:spMkLst>
            <pc:docMk/>
            <pc:sldMk cId="2972490258" sldId="1373"/>
            <ac:spMk id="2" creationId="{CF40BF5C-03B7-465A-97C6-DD3B9D4DBEC7}"/>
          </ac:spMkLst>
        </pc:spChg>
      </pc:sldChg>
      <pc:sldChg chg="modSp add del mod ord">
        <pc:chgData name="Hesse, Thomas Dr." userId="661ed4e0-7782-4a1c-9bc8-dd191b47db53" providerId="ADAL" clId="{C7B830A9-0123-4835-A836-7B72F5B1B7D9}" dt="2024-06-05T13:32:32.009" v="6615" actId="47"/>
        <pc:sldMkLst>
          <pc:docMk/>
          <pc:sldMk cId="259134654" sldId="1374"/>
        </pc:sldMkLst>
        <pc:spChg chg="mod">
          <ac:chgData name="Hesse, Thomas Dr." userId="661ed4e0-7782-4a1c-9bc8-dd191b47db53" providerId="ADAL" clId="{C7B830A9-0123-4835-A836-7B72F5B1B7D9}" dt="2024-06-05T13:25:52.928" v="6377" actId="313"/>
          <ac:spMkLst>
            <pc:docMk/>
            <pc:sldMk cId="259134654" sldId="1374"/>
            <ac:spMk id="2" creationId="{CF40BF5C-03B7-465A-97C6-DD3B9D4DBEC7}"/>
          </ac:spMkLst>
        </pc:spChg>
      </pc:sldChg>
      <pc:sldChg chg="modSp add del mod ord">
        <pc:chgData name="Hesse, Thomas Dr." userId="661ed4e0-7782-4a1c-9bc8-dd191b47db53" providerId="ADAL" clId="{C7B830A9-0123-4835-A836-7B72F5B1B7D9}" dt="2024-06-05T13:32:32.009" v="6615" actId="47"/>
        <pc:sldMkLst>
          <pc:docMk/>
          <pc:sldMk cId="4258991624" sldId="1375"/>
        </pc:sldMkLst>
        <pc:spChg chg="mod">
          <ac:chgData name="Hesse, Thomas Dr." userId="661ed4e0-7782-4a1c-9bc8-dd191b47db53" providerId="ADAL" clId="{C7B830A9-0123-4835-A836-7B72F5B1B7D9}" dt="2024-06-05T13:25:53.656" v="6378" actId="313"/>
          <ac:spMkLst>
            <pc:docMk/>
            <pc:sldMk cId="4258991624" sldId="1375"/>
            <ac:spMk id="2" creationId="{CF40BF5C-03B7-465A-97C6-DD3B9D4DBEC7}"/>
          </ac:spMkLst>
        </pc:spChg>
      </pc:sldChg>
      <pc:sldChg chg="addSp delSp modSp add del mod ord">
        <pc:chgData name="Hesse, Thomas Dr." userId="661ed4e0-7782-4a1c-9bc8-dd191b47db53" providerId="ADAL" clId="{C7B830A9-0123-4835-A836-7B72F5B1B7D9}" dt="2024-06-05T16:46:56.019" v="11619" actId="255"/>
        <pc:sldMkLst>
          <pc:docMk/>
          <pc:sldMk cId="162813327" sldId="1376"/>
        </pc:sldMkLst>
        <pc:spChg chg="mod">
          <ac:chgData name="Hesse, Thomas Dr." userId="661ed4e0-7782-4a1c-9bc8-dd191b47db53" providerId="ADAL" clId="{C7B830A9-0123-4835-A836-7B72F5B1B7D9}" dt="2024-06-05T13:25:48.040" v="6369" actId="313"/>
          <ac:spMkLst>
            <pc:docMk/>
            <pc:sldMk cId="162813327" sldId="1376"/>
            <ac:spMk id="2" creationId="{5480DB41-A291-4FA3-905F-F311585DB63C}"/>
          </ac:spMkLst>
        </pc:spChg>
        <pc:spChg chg="add mod">
          <ac:chgData name="Hesse, Thomas Dr." userId="661ed4e0-7782-4a1c-9bc8-dd191b47db53" providerId="ADAL" clId="{C7B830A9-0123-4835-A836-7B72F5B1B7D9}" dt="2024-06-05T16:46:56.019" v="11619" actId="255"/>
          <ac:spMkLst>
            <pc:docMk/>
            <pc:sldMk cId="162813327" sldId="1376"/>
            <ac:spMk id="3" creationId="{0E225901-1778-B583-DC50-CA02CC0BE223}"/>
          </ac:spMkLst>
        </pc:spChg>
        <pc:spChg chg="add del mod">
          <ac:chgData name="Hesse, Thomas Dr." userId="661ed4e0-7782-4a1c-9bc8-dd191b47db53" providerId="ADAL" clId="{C7B830A9-0123-4835-A836-7B72F5B1B7D9}" dt="2024-06-05T14:31:29.960" v="7666" actId="478"/>
          <ac:spMkLst>
            <pc:docMk/>
            <pc:sldMk cId="162813327" sldId="1376"/>
            <ac:spMk id="6" creationId="{9737920E-6C40-1E69-A94B-EAAECCD65958}"/>
          </ac:spMkLst>
        </pc:spChg>
        <pc:spChg chg="add mod">
          <ac:chgData name="Hesse, Thomas Dr." userId="661ed4e0-7782-4a1c-9bc8-dd191b47db53" providerId="ADAL" clId="{C7B830A9-0123-4835-A836-7B72F5B1B7D9}" dt="2024-06-05T16:16:32.744" v="9320" actId="20577"/>
          <ac:spMkLst>
            <pc:docMk/>
            <pc:sldMk cId="162813327" sldId="1376"/>
            <ac:spMk id="7" creationId="{0B53A368-E5D7-48C2-757A-BC1F9659B853}"/>
          </ac:spMkLst>
        </pc:spChg>
        <pc:spChg chg="mod">
          <ac:chgData name="Hesse, Thomas Dr." userId="661ed4e0-7782-4a1c-9bc8-dd191b47db53" providerId="ADAL" clId="{C7B830A9-0123-4835-A836-7B72F5B1B7D9}" dt="2024-06-05T14:21:39.749" v="6676" actId="20577"/>
          <ac:spMkLst>
            <pc:docMk/>
            <pc:sldMk cId="162813327" sldId="1376"/>
            <ac:spMk id="9" creationId="{1CF653FB-3CD7-42B7-B8D0-DC30DD14EE37}"/>
          </ac:spMkLst>
        </pc:spChg>
        <pc:spChg chg="del mod">
          <ac:chgData name="Hesse, Thomas Dr." userId="661ed4e0-7782-4a1c-9bc8-dd191b47db53" providerId="ADAL" clId="{C7B830A9-0123-4835-A836-7B72F5B1B7D9}" dt="2024-06-05T14:31:14.251" v="7664" actId="478"/>
          <ac:spMkLst>
            <pc:docMk/>
            <pc:sldMk cId="162813327" sldId="1376"/>
            <ac:spMk id="11" creationId="{8D680EDA-2411-478A-9BAD-9D93FEF5EA63}"/>
          </ac:spMkLst>
        </pc:spChg>
        <pc:spChg chg="del">
          <ac:chgData name="Hesse, Thomas Dr." userId="661ed4e0-7782-4a1c-9bc8-dd191b47db53" providerId="ADAL" clId="{C7B830A9-0123-4835-A836-7B72F5B1B7D9}" dt="2024-06-05T14:31:22.021" v="7665" actId="478"/>
          <ac:spMkLst>
            <pc:docMk/>
            <pc:sldMk cId="162813327" sldId="1376"/>
            <ac:spMk id="12" creationId="{85EAB308-9700-4974-8329-F7B257EC7702}"/>
          </ac:spMkLst>
        </pc:spChg>
        <pc:picChg chg="del">
          <ac:chgData name="Hesse, Thomas Dr." userId="661ed4e0-7782-4a1c-9bc8-dd191b47db53" providerId="ADAL" clId="{C7B830A9-0123-4835-A836-7B72F5B1B7D9}" dt="2024-06-05T14:21:42.844" v="6677" actId="478"/>
          <ac:picMkLst>
            <pc:docMk/>
            <pc:sldMk cId="162813327" sldId="1376"/>
            <ac:picMk id="15" creationId="{E504B295-7553-4F42-B625-75983419786A}"/>
          </ac:picMkLst>
        </pc:picChg>
      </pc:sldChg>
      <pc:sldChg chg="addSp modSp add mod ord modAnim">
        <pc:chgData name="Hesse, Thomas Dr." userId="661ed4e0-7782-4a1c-9bc8-dd191b47db53" providerId="ADAL" clId="{C7B830A9-0123-4835-A836-7B72F5B1B7D9}" dt="2024-06-05T16:31:59.165" v="11300"/>
        <pc:sldMkLst>
          <pc:docMk/>
          <pc:sldMk cId="1389552595" sldId="1377"/>
        </pc:sldMkLst>
        <pc:spChg chg="mod">
          <ac:chgData name="Hesse, Thomas Dr." userId="661ed4e0-7782-4a1c-9bc8-dd191b47db53" providerId="ADAL" clId="{C7B830A9-0123-4835-A836-7B72F5B1B7D9}" dt="2024-06-05T13:25:49.376" v="6371" actId="313"/>
          <ac:spMkLst>
            <pc:docMk/>
            <pc:sldMk cId="1389552595" sldId="1377"/>
            <ac:spMk id="2" creationId="{1192598F-891C-49EF-942D-23A8650216D3}"/>
          </ac:spMkLst>
        </pc:spChg>
        <pc:spChg chg="add mod">
          <ac:chgData name="Hesse, Thomas Dr." userId="661ed4e0-7782-4a1c-9bc8-dd191b47db53" providerId="ADAL" clId="{C7B830A9-0123-4835-A836-7B72F5B1B7D9}" dt="2024-06-05T12:02:02.486" v="4390" actId="1036"/>
          <ac:spMkLst>
            <pc:docMk/>
            <pc:sldMk cId="1389552595" sldId="1377"/>
            <ac:spMk id="5" creationId="{6F3B6BA1-9211-23EE-B271-C09D3957FD3B}"/>
          </ac:spMkLst>
        </pc:spChg>
        <pc:spChg chg="mod">
          <ac:chgData name="Hesse, Thomas Dr." userId="661ed4e0-7782-4a1c-9bc8-dd191b47db53" providerId="ADAL" clId="{C7B830A9-0123-4835-A836-7B72F5B1B7D9}" dt="2024-06-05T08:53:40.190" v="2220" actId="20577"/>
          <ac:spMkLst>
            <pc:docMk/>
            <pc:sldMk cId="1389552595" sldId="1377"/>
            <ac:spMk id="9" creationId="{1CF653FB-3CD7-42B7-B8D0-DC30DD14EE37}"/>
          </ac:spMkLst>
        </pc:spChg>
        <pc:spChg chg="mod">
          <ac:chgData name="Hesse, Thomas Dr." userId="661ed4e0-7782-4a1c-9bc8-dd191b47db53" providerId="ADAL" clId="{C7B830A9-0123-4835-A836-7B72F5B1B7D9}" dt="2024-06-05T14:32:58.570" v="7688" actId="20577"/>
          <ac:spMkLst>
            <pc:docMk/>
            <pc:sldMk cId="1389552595" sldId="1377"/>
            <ac:spMk id="13" creationId="{E66C30B6-240E-4BF7-B8F6-E6D4ACCB97A0}"/>
          </ac:spMkLst>
        </pc:spChg>
        <pc:picChg chg="add mod">
          <ac:chgData name="Hesse, Thomas Dr." userId="661ed4e0-7782-4a1c-9bc8-dd191b47db53" providerId="ADAL" clId="{C7B830A9-0123-4835-A836-7B72F5B1B7D9}" dt="2024-06-05T12:00:37.969" v="4371"/>
          <ac:picMkLst>
            <pc:docMk/>
            <pc:sldMk cId="1389552595" sldId="1377"/>
            <ac:picMk id="3" creationId="{E921FDA9-C450-718A-A628-535A9355B606}"/>
          </ac:picMkLst>
        </pc:picChg>
      </pc:sldChg>
      <pc:sldChg chg="addSp modSp add mod ord modAnim">
        <pc:chgData name="Hesse, Thomas Dr." userId="661ed4e0-7782-4a1c-9bc8-dd191b47db53" providerId="ADAL" clId="{C7B830A9-0123-4835-A836-7B72F5B1B7D9}" dt="2024-06-05T16:31:59.166" v="11301"/>
        <pc:sldMkLst>
          <pc:docMk/>
          <pc:sldMk cId="1067973784" sldId="1378"/>
        </pc:sldMkLst>
        <pc:spChg chg="mod">
          <ac:chgData name="Hesse, Thomas Dr." userId="661ed4e0-7782-4a1c-9bc8-dd191b47db53" providerId="ADAL" clId="{C7B830A9-0123-4835-A836-7B72F5B1B7D9}" dt="2024-06-05T13:25:50.017" v="6372" actId="313"/>
          <ac:spMkLst>
            <pc:docMk/>
            <pc:sldMk cId="1067973784" sldId="1378"/>
            <ac:spMk id="2" creationId="{1192598F-891C-49EF-942D-23A8650216D3}"/>
          </ac:spMkLst>
        </pc:spChg>
        <pc:spChg chg="add mod">
          <ac:chgData name="Hesse, Thomas Dr." userId="661ed4e0-7782-4a1c-9bc8-dd191b47db53" providerId="ADAL" clId="{C7B830A9-0123-4835-A836-7B72F5B1B7D9}" dt="2024-06-05T12:01:48.232" v="4388" actId="1076"/>
          <ac:spMkLst>
            <pc:docMk/>
            <pc:sldMk cId="1067973784" sldId="1378"/>
            <ac:spMk id="5" creationId="{A720C76D-B60D-E12C-5789-EBC0BA0845B2}"/>
          </ac:spMkLst>
        </pc:spChg>
        <pc:spChg chg="mod">
          <ac:chgData name="Hesse, Thomas Dr." userId="661ed4e0-7782-4a1c-9bc8-dd191b47db53" providerId="ADAL" clId="{C7B830A9-0123-4835-A836-7B72F5B1B7D9}" dt="2024-06-05T16:13:18.190" v="9302" actId="20577"/>
          <ac:spMkLst>
            <pc:docMk/>
            <pc:sldMk cId="1067973784" sldId="1378"/>
            <ac:spMk id="9" creationId="{1CF653FB-3CD7-42B7-B8D0-DC30DD14EE37}"/>
          </ac:spMkLst>
        </pc:spChg>
        <pc:spChg chg="mod">
          <ac:chgData name="Hesse, Thomas Dr." userId="661ed4e0-7782-4a1c-9bc8-dd191b47db53" providerId="ADAL" clId="{C7B830A9-0123-4835-A836-7B72F5B1B7D9}" dt="2024-06-05T13:21:53.185" v="5176" actId="20577"/>
          <ac:spMkLst>
            <pc:docMk/>
            <pc:sldMk cId="1067973784" sldId="1378"/>
            <ac:spMk id="13" creationId="{E66C30B6-240E-4BF7-B8F6-E6D4ACCB97A0}"/>
          </ac:spMkLst>
        </pc:spChg>
        <pc:picChg chg="add mod">
          <ac:chgData name="Hesse, Thomas Dr." userId="661ed4e0-7782-4a1c-9bc8-dd191b47db53" providerId="ADAL" clId="{C7B830A9-0123-4835-A836-7B72F5B1B7D9}" dt="2024-06-05T12:00:38.995" v="4372"/>
          <ac:picMkLst>
            <pc:docMk/>
            <pc:sldMk cId="1067973784" sldId="1378"/>
            <ac:picMk id="3" creationId="{73256B6A-12EA-3AA7-981B-E54EDED6499A}"/>
          </ac:picMkLst>
        </pc:picChg>
      </pc:sldChg>
      <pc:sldChg chg="addSp modSp add mod ord modAnim">
        <pc:chgData name="Hesse, Thomas Dr." userId="661ed4e0-7782-4a1c-9bc8-dd191b47db53" providerId="ADAL" clId="{C7B830A9-0123-4835-A836-7B72F5B1B7D9}" dt="2024-06-05T16:31:59.166" v="11302"/>
        <pc:sldMkLst>
          <pc:docMk/>
          <pc:sldMk cId="4059286116" sldId="1379"/>
        </pc:sldMkLst>
        <pc:spChg chg="mod">
          <ac:chgData name="Hesse, Thomas Dr." userId="661ed4e0-7782-4a1c-9bc8-dd191b47db53" providerId="ADAL" clId="{C7B830A9-0123-4835-A836-7B72F5B1B7D9}" dt="2024-06-05T13:25:50.576" v="6373" actId="313"/>
          <ac:spMkLst>
            <pc:docMk/>
            <pc:sldMk cId="4059286116" sldId="1379"/>
            <ac:spMk id="2" creationId="{1192598F-891C-49EF-942D-23A8650216D3}"/>
          </ac:spMkLst>
        </pc:spChg>
        <pc:spChg chg="add mod">
          <ac:chgData name="Hesse, Thomas Dr." userId="661ed4e0-7782-4a1c-9bc8-dd191b47db53" providerId="ADAL" clId="{C7B830A9-0123-4835-A836-7B72F5B1B7D9}" dt="2024-06-05T12:02:20.015" v="4393" actId="14100"/>
          <ac:spMkLst>
            <pc:docMk/>
            <pc:sldMk cId="4059286116" sldId="1379"/>
            <ac:spMk id="5" creationId="{4C4C3906-D22A-4493-2370-BC5157F9CF1D}"/>
          </ac:spMkLst>
        </pc:spChg>
        <pc:spChg chg="mod">
          <ac:chgData name="Hesse, Thomas Dr." userId="661ed4e0-7782-4a1c-9bc8-dd191b47db53" providerId="ADAL" clId="{C7B830A9-0123-4835-A836-7B72F5B1B7D9}" dt="2024-06-05T12:07:14.963" v="4418" actId="20577"/>
          <ac:spMkLst>
            <pc:docMk/>
            <pc:sldMk cId="4059286116" sldId="1379"/>
            <ac:spMk id="9" creationId="{1CF653FB-3CD7-42B7-B8D0-DC30DD14EE37}"/>
          </ac:spMkLst>
        </pc:spChg>
        <pc:spChg chg="mod">
          <ac:chgData name="Hesse, Thomas Dr." userId="661ed4e0-7782-4a1c-9bc8-dd191b47db53" providerId="ADAL" clId="{C7B830A9-0123-4835-A836-7B72F5B1B7D9}" dt="2024-06-05T13:19:49.550" v="5163"/>
          <ac:spMkLst>
            <pc:docMk/>
            <pc:sldMk cId="4059286116" sldId="1379"/>
            <ac:spMk id="13" creationId="{E66C30B6-240E-4BF7-B8F6-E6D4ACCB97A0}"/>
          </ac:spMkLst>
        </pc:spChg>
        <pc:picChg chg="add mod">
          <ac:chgData name="Hesse, Thomas Dr." userId="661ed4e0-7782-4a1c-9bc8-dd191b47db53" providerId="ADAL" clId="{C7B830A9-0123-4835-A836-7B72F5B1B7D9}" dt="2024-06-05T12:00:40.099" v="4373"/>
          <ac:picMkLst>
            <pc:docMk/>
            <pc:sldMk cId="4059286116" sldId="1379"/>
            <ac:picMk id="3" creationId="{49FBAD91-6C57-375A-E6A5-0B55FFC06F41}"/>
          </ac:picMkLst>
        </pc:picChg>
      </pc:sldChg>
      <pc:sldChg chg="addSp modSp add mod ord modAnim">
        <pc:chgData name="Hesse, Thomas Dr." userId="661ed4e0-7782-4a1c-9bc8-dd191b47db53" providerId="ADAL" clId="{C7B830A9-0123-4835-A836-7B72F5B1B7D9}" dt="2024-06-05T16:31:59.167" v="11303"/>
        <pc:sldMkLst>
          <pc:docMk/>
          <pc:sldMk cId="1769600390" sldId="1380"/>
        </pc:sldMkLst>
        <pc:spChg chg="mod">
          <ac:chgData name="Hesse, Thomas Dr." userId="661ed4e0-7782-4a1c-9bc8-dd191b47db53" providerId="ADAL" clId="{C7B830A9-0123-4835-A836-7B72F5B1B7D9}" dt="2024-06-05T13:25:51.193" v="6374" actId="313"/>
          <ac:spMkLst>
            <pc:docMk/>
            <pc:sldMk cId="1769600390" sldId="1380"/>
            <ac:spMk id="2" creationId="{1192598F-891C-49EF-942D-23A8650216D3}"/>
          </ac:spMkLst>
        </pc:spChg>
        <pc:spChg chg="add mod">
          <ac:chgData name="Hesse, Thomas Dr." userId="661ed4e0-7782-4a1c-9bc8-dd191b47db53" providerId="ADAL" clId="{C7B830A9-0123-4835-A836-7B72F5B1B7D9}" dt="2024-06-05T12:02:32.683" v="4394"/>
          <ac:spMkLst>
            <pc:docMk/>
            <pc:sldMk cId="1769600390" sldId="1380"/>
            <ac:spMk id="5" creationId="{6EAA91F4-027B-05F5-8CE5-6E39A9A4B1DB}"/>
          </ac:spMkLst>
        </pc:spChg>
        <pc:spChg chg="add mod">
          <ac:chgData name="Hesse, Thomas Dr." userId="661ed4e0-7782-4a1c-9bc8-dd191b47db53" providerId="ADAL" clId="{C7B830A9-0123-4835-A836-7B72F5B1B7D9}" dt="2024-06-05T12:02:41.086" v="4395"/>
          <ac:spMkLst>
            <pc:docMk/>
            <pc:sldMk cId="1769600390" sldId="1380"/>
            <ac:spMk id="6" creationId="{0742C552-5DE4-D81E-6D09-456DFFD79826}"/>
          </ac:spMkLst>
        </pc:spChg>
        <pc:spChg chg="add mod">
          <ac:chgData name="Hesse, Thomas Dr." userId="661ed4e0-7782-4a1c-9bc8-dd191b47db53" providerId="ADAL" clId="{C7B830A9-0123-4835-A836-7B72F5B1B7D9}" dt="2024-06-05T12:02:49.019" v="4396"/>
          <ac:spMkLst>
            <pc:docMk/>
            <pc:sldMk cId="1769600390" sldId="1380"/>
            <ac:spMk id="7" creationId="{9C1A6D0C-DC56-45A9-37F7-275928CA4E32}"/>
          </ac:spMkLst>
        </pc:spChg>
        <pc:spChg chg="mod">
          <ac:chgData name="Hesse, Thomas Dr." userId="661ed4e0-7782-4a1c-9bc8-dd191b47db53" providerId="ADAL" clId="{C7B830A9-0123-4835-A836-7B72F5B1B7D9}" dt="2024-06-05T16:09:12.950" v="9290" actId="20577"/>
          <ac:spMkLst>
            <pc:docMk/>
            <pc:sldMk cId="1769600390" sldId="1380"/>
            <ac:spMk id="9" creationId="{1CF653FB-3CD7-42B7-B8D0-DC30DD14EE37}"/>
          </ac:spMkLst>
        </pc:spChg>
        <pc:spChg chg="mod">
          <ac:chgData name="Hesse, Thomas Dr." userId="661ed4e0-7782-4a1c-9bc8-dd191b47db53" providerId="ADAL" clId="{C7B830A9-0123-4835-A836-7B72F5B1B7D9}" dt="2024-06-05T16:09:53.269" v="9299" actId="20577"/>
          <ac:spMkLst>
            <pc:docMk/>
            <pc:sldMk cId="1769600390" sldId="1380"/>
            <ac:spMk id="13" creationId="{E66C30B6-240E-4BF7-B8F6-E6D4ACCB97A0}"/>
          </ac:spMkLst>
        </pc:spChg>
        <pc:picChg chg="add mod">
          <ac:chgData name="Hesse, Thomas Dr." userId="661ed4e0-7782-4a1c-9bc8-dd191b47db53" providerId="ADAL" clId="{C7B830A9-0123-4835-A836-7B72F5B1B7D9}" dt="2024-06-05T12:00:41.636" v="4374"/>
          <ac:picMkLst>
            <pc:docMk/>
            <pc:sldMk cId="1769600390" sldId="1380"/>
            <ac:picMk id="3" creationId="{27C087B5-F9B2-D41B-6035-94D4649C5922}"/>
          </ac:picMkLst>
        </pc:picChg>
      </pc:sldChg>
      <pc:sldChg chg="addSp modSp add del mod ord">
        <pc:chgData name="Hesse, Thomas Dr." userId="661ed4e0-7782-4a1c-9bc8-dd191b47db53" providerId="ADAL" clId="{C7B830A9-0123-4835-A836-7B72F5B1B7D9}" dt="2024-06-05T16:31:59.189" v="11328" actId="2696"/>
        <pc:sldMkLst>
          <pc:docMk/>
          <pc:sldMk cId="1271219269" sldId="1381"/>
        </pc:sldMkLst>
        <pc:spChg chg="add mod replST">
          <ac:chgData name="Hesse, Thomas Dr." userId="661ed4e0-7782-4a1c-9bc8-dd191b47db53" providerId="ADAL" clId="{C7B830A9-0123-4835-A836-7B72F5B1B7D9}" dt="2024-06-05T13:25:19.142" v="5475"/>
          <ac:spMkLst>
            <pc:docMk/>
            <pc:sldMk cId="1271219269" sldId="1381"/>
            <ac:spMk id="2" creationId="{B61CB580-DF8B-48AF-BCE7-BFEC15B6A502}"/>
          </ac:spMkLst>
        </pc:spChg>
        <pc:spChg chg="add mod replST">
          <ac:chgData name="Hesse, Thomas Dr." userId="661ed4e0-7782-4a1c-9bc8-dd191b47db53" providerId="ADAL" clId="{C7B830A9-0123-4835-A836-7B72F5B1B7D9}" dt="2024-06-05T13:25:19.142" v="5475"/>
          <ac:spMkLst>
            <pc:docMk/>
            <pc:sldMk cId="1271219269" sldId="1381"/>
            <ac:spMk id="4" creationId="{1E6469EE-1B98-4322-AEB5-C9BF1E8A474D}"/>
          </ac:spMkLst>
        </pc:spChg>
        <pc:spChg chg="mod ord replST">
          <ac:chgData name="Hesse, Thomas Dr." userId="661ed4e0-7782-4a1c-9bc8-dd191b47db53" providerId="ADAL" clId="{C7B830A9-0123-4835-A836-7B72F5B1B7D9}" dt="2024-06-05T13:25:19.149" v="5492"/>
          <ac:spMkLst>
            <pc:docMk/>
            <pc:sldMk cId="1271219269" sldId="1381"/>
            <ac:spMk id="5" creationId="{6B1F5C95-1F4D-E0FF-015B-6E736C31D288}"/>
          </ac:spMkLst>
        </pc:spChg>
        <pc:spChg chg="add mod replST">
          <ac:chgData name="Hesse, Thomas Dr." userId="661ed4e0-7782-4a1c-9bc8-dd191b47db53" providerId="ADAL" clId="{C7B830A9-0123-4835-A836-7B72F5B1B7D9}" dt="2024-06-05T15:50:26.201" v="8822" actId="20577"/>
          <ac:spMkLst>
            <pc:docMk/>
            <pc:sldMk cId="1271219269" sldId="1381"/>
            <ac:spMk id="6" creationId="{188A44A1-90B2-4719-B50D-B1923DD2398F}"/>
          </ac:spMkLst>
        </pc:spChg>
        <pc:spChg chg="add mod replST">
          <ac:chgData name="Hesse, Thomas Dr." userId="661ed4e0-7782-4a1c-9bc8-dd191b47db53" providerId="ADAL" clId="{C7B830A9-0123-4835-A836-7B72F5B1B7D9}" dt="2024-06-05T13:25:19.142" v="5475"/>
          <ac:spMkLst>
            <pc:docMk/>
            <pc:sldMk cId="1271219269" sldId="1381"/>
            <ac:spMk id="10" creationId="{B61CB580-DF8B-48AF-BCE7-BFEC15B6A502}"/>
          </ac:spMkLst>
        </pc:spChg>
        <pc:spChg chg="add mod replST">
          <ac:chgData name="Hesse, Thomas Dr." userId="661ed4e0-7782-4a1c-9bc8-dd191b47db53" providerId="ADAL" clId="{C7B830A9-0123-4835-A836-7B72F5B1B7D9}" dt="2024-06-05T13:25:19.142" v="5475"/>
          <ac:spMkLst>
            <pc:docMk/>
            <pc:sldMk cId="1271219269" sldId="1381"/>
            <ac:spMk id="11" creationId="{1E6469EE-1B98-4322-AEB5-C9BF1E8A474D}"/>
          </ac:spMkLst>
        </pc:spChg>
        <pc:spChg chg="add mod replST">
          <ac:chgData name="Hesse, Thomas Dr." userId="661ed4e0-7782-4a1c-9bc8-dd191b47db53" providerId="ADAL" clId="{C7B830A9-0123-4835-A836-7B72F5B1B7D9}" dt="2024-06-05T15:50:26.202" v="8823" actId="20577"/>
          <ac:spMkLst>
            <pc:docMk/>
            <pc:sldMk cId="1271219269" sldId="1381"/>
            <ac:spMk id="12" creationId="{188A44A1-90B2-4719-B50D-B1923DD2398F}"/>
          </ac:spMkLst>
        </pc:spChg>
        <pc:spChg chg="add mod replST">
          <ac:chgData name="Hesse, Thomas Dr." userId="661ed4e0-7782-4a1c-9bc8-dd191b47db53" providerId="ADAL" clId="{C7B830A9-0123-4835-A836-7B72F5B1B7D9}" dt="2024-06-05T13:25:19.142" v="5475"/>
          <ac:spMkLst>
            <pc:docMk/>
            <pc:sldMk cId="1271219269" sldId="1381"/>
            <ac:spMk id="16" creationId="{B61CB580-DF8B-48AF-BCE7-BFEC15B6A502}"/>
          </ac:spMkLst>
        </pc:spChg>
        <pc:spChg chg="add mod replST">
          <ac:chgData name="Hesse, Thomas Dr." userId="661ed4e0-7782-4a1c-9bc8-dd191b47db53" providerId="ADAL" clId="{C7B830A9-0123-4835-A836-7B72F5B1B7D9}" dt="2024-06-05T13:25:19.142" v="5475"/>
          <ac:spMkLst>
            <pc:docMk/>
            <pc:sldMk cId="1271219269" sldId="1381"/>
            <ac:spMk id="17" creationId="{1E6469EE-1B98-4322-AEB5-C9BF1E8A474D}"/>
          </ac:spMkLst>
        </pc:spChg>
        <pc:spChg chg="add mod replST">
          <ac:chgData name="Hesse, Thomas Dr." userId="661ed4e0-7782-4a1c-9bc8-dd191b47db53" providerId="ADAL" clId="{C7B830A9-0123-4835-A836-7B72F5B1B7D9}" dt="2024-06-05T15:50:26.203" v="8824" actId="20577"/>
          <ac:spMkLst>
            <pc:docMk/>
            <pc:sldMk cId="1271219269" sldId="1381"/>
            <ac:spMk id="18" creationId="{188A44A1-90B2-4719-B50D-B1923DD2398F}"/>
          </ac:spMkLst>
        </pc:spChg>
        <pc:spChg chg="mod">
          <ac:chgData name="Hesse, Thomas Dr." userId="661ed4e0-7782-4a1c-9bc8-dd191b47db53" providerId="ADAL" clId="{C7B830A9-0123-4835-A836-7B72F5B1B7D9}" dt="2024-06-05T13:25:45.912" v="6366" actId="313"/>
          <ac:spMkLst>
            <pc:docMk/>
            <pc:sldMk cId="1271219269" sldId="1381"/>
            <ac:spMk id="23" creationId="{D945C549-FC5F-4B45-DDE5-00F4D6B38302}"/>
          </ac:spMkLst>
        </pc:spChg>
        <pc:grpChg chg="add mod ord replST">
          <ac:chgData name="Hesse, Thomas Dr." userId="661ed4e0-7782-4a1c-9bc8-dd191b47db53" providerId="ADAL" clId="{C7B830A9-0123-4835-A836-7B72F5B1B7D9}" dt="2024-06-05T13:25:19.142" v="5475"/>
          <ac:grpSpMkLst>
            <pc:docMk/>
            <pc:sldMk cId="1271219269" sldId="1381"/>
            <ac:grpSpMk id="7" creationId="{F6C87C0E-1651-4964-8214-4B8A6FB75CB9}"/>
          </ac:grpSpMkLst>
        </pc:grpChg>
        <pc:grpChg chg="add mod ord replST">
          <ac:chgData name="Hesse, Thomas Dr." userId="661ed4e0-7782-4a1c-9bc8-dd191b47db53" providerId="ADAL" clId="{C7B830A9-0123-4835-A836-7B72F5B1B7D9}" dt="2024-06-05T13:25:19.142" v="5475"/>
          <ac:grpSpMkLst>
            <pc:docMk/>
            <pc:sldMk cId="1271219269" sldId="1381"/>
            <ac:grpSpMk id="13" creationId="{F6C87C0E-1651-4964-8214-4B8A6FB75CB9}"/>
          </ac:grpSpMkLst>
        </pc:grpChg>
        <pc:grpChg chg="add mod ord replST">
          <ac:chgData name="Hesse, Thomas Dr." userId="661ed4e0-7782-4a1c-9bc8-dd191b47db53" providerId="ADAL" clId="{C7B830A9-0123-4835-A836-7B72F5B1B7D9}" dt="2024-06-05T13:25:19.142" v="5475"/>
          <ac:grpSpMkLst>
            <pc:docMk/>
            <pc:sldMk cId="1271219269" sldId="1381"/>
            <ac:grpSpMk id="19" creationId="{F6C87C0E-1651-4964-8214-4B8A6FB75CB9}"/>
          </ac:grpSpMkLst>
        </pc:grpChg>
        <pc:grpChg chg="add mod replST">
          <ac:chgData name="Hesse, Thomas Dr." userId="661ed4e0-7782-4a1c-9bc8-dd191b47db53" providerId="ADAL" clId="{C7B830A9-0123-4835-A836-7B72F5B1B7D9}" dt="2024-06-05T13:25:19.148" v="5490"/>
          <ac:grpSpMkLst>
            <pc:docMk/>
            <pc:sldMk cId="1271219269" sldId="1381"/>
            <ac:grpSpMk id="22" creationId="{6D920271-F1AF-DFDF-C2AE-C1A1F2B6AB03}"/>
          </ac:grpSpMkLst>
        </pc:grpChg>
        <pc:cxnChg chg="add mod">
          <ac:chgData name="Hesse, Thomas Dr." userId="661ed4e0-7782-4a1c-9bc8-dd191b47db53" providerId="ADAL" clId="{C7B830A9-0123-4835-A836-7B72F5B1B7D9}" dt="2024-06-05T13:25:19.008" v="5308"/>
          <ac:cxnSpMkLst>
            <pc:docMk/>
            <pc:sldMk cId="1271219269" sldId="1381"/>
            <ac:cxnSpMk id="8" creationId="{D17F1784-2691-4FE4-AF82-B768FFFD942A}"/>
          </ac:cxnSpMkLst>
        </pc:cxnChg>
        <pc:cxnChg chg="add mod">
          <ac:chgData name="Hesse, Thomas Dr." userId="661ed4e0-7782-4a1c-9bc8-dd191b47db53" providerId="ADAL" clId="{C7B830A9-0123-4835-A836-7B72F5B1B7D9}" dt="2024-06-05T13:25:19.008" v="5308"/>
          <ac:cxnSpMkLst>
            <pc:docMk/>
            <pc:sldMk cId="1271219269" sldId="1381"/>
            <ac:cxnSpMk id="9" creationId="{8A05B422-1F71-4726-B6E5-7BAA31B63A84}"/>
          </ac:cxnSpMkLst>
        </pc:cxnChg>
        <pc:cxnChg chg="add mod">
          <ac:chgData name="Hesse, Thomas Dr." userId="661ed4e0-7782-4a1c-9bc8-dd191b47db53" providerId="ADAL" clId="{C7B830A9-0123-4835-A836-7B72F5B1B7D9}" dt="2024-06-05T13:25:19.068" v="5390"/>
          <ac:cxnSpMkLst>
            <pc:docMk/>
            <pc:sldMk cId="1271219269" sldId="1381"/>
            <ac:cxnSpMk id="14" creationId="{D17F1784-2691-4FE4-AF82-B768FFFD942A}"/>
          </ac:cxnSpMkLst>
        </pc:cxnChg>
        <pc:cxnChg chg="add mod">
          <ac:chgData name="Hesse, Thomas Dr." userId="661ed4e0-7782-4a1c-9bc8-dd191b47db53" providerId="ADAL" clId="{C7B830A9-0123-4835-A836-7B72F5B1B7D9}" dt="2024-06-05T13:25:19.068" v="5390"/>
          <ac:cxnSpMkLst>
            <pc:docMk/>
            <pc:sldMk cId="1271219269" sldId="1381"/>
            <ac:cxnSpMk id="15" creationId="{8A05B422-1F71-4726-B6E5-7BAA31B63A84}"/>
          </ac:cxnSpMkLst>
        </pc:cxnChg>
        <pc:cxnChg chg="add mod">
          <ac:chgData name="Hesse, Thomas Dr." userId="661ed4e0-7782-4a1c-9bc8-dd191b47db53" providerId="ADAL" clId="{C7B830A9-0123-4835-A836-7B72F5B1B7D9}" dt="2024-06-05T13:25:19.124" v="5472"/>
          <ac:cxnSpMkLst>
            <pc:docMk/>
            <pc:sldMk cId="1271219269" sldId="1381"/>
            <ac:cxnSpMk id="20" creationId="{D17F1784-2691-4FE4-AF82-B768FFFD942A}"/>
          </ac:cxnSpMkLst>
        </pc:cxnChg>
        <pc:cxnChg chg="add mod">
          <ac:chgData name="Hesse, Thomas Dr." userId="661ed4e0-7782-4a1c-9bc8-dd191b47db53" providerId="ADAL" clId="{C7B830A9-0123-4835-A836-7B72F5B1B7D9}" dt="2024-06-05T13:25:19.124" v="5472"/>
          <ac:cxnSpMkLst>
            <pc:docMk/>
            <pc:sldMk cId="1271219269" sldId="1381"/>
            <ac:cxnSpMk id="21" creationId="{8A05B422-1F71-4726-B6E5-7BAA31B63A84}"/>
          </ac:cxnSpMkLst>
        </pc:cxnChg>
      </pc:sldChg>
      <pc:sldChg chg="addSp modSp add del mod ord">
        <pc:chgData name="Hesse, Thomas Dr." userId="661ed4e0-7782-4a1c-9bc8-dd191b47db53" providerId="ADAL" clId="{C7B830A9-0123-4835-A836-7B72F5B1B7D9}" dt="2024-06-05T16:31:59.197" v="11329" actId="2696"/>
        <pc:sldMkLst>
          <pc:docMk/>
          <pc:sldMk cId="127119610" sldId="1382"/>
        </pc:sldMkLst>
        <pc:spChg chg="add mod replST">
          <ac:chgData name="Hesse, Thomas Dr." userId="661ed4e0-7782-4a1c-9bc8-dd191b47db53" providerId="ADAL" clId="{C7B830A9-0123-4835-A836-7B72F5B1B7D9}" dt="2024-06-05T13:25:19.341" v="5743"/>
          <ac:spMkLst>
            <pc:docMk/>
            <pc:sldMk cId="127119610" sldId="1382"/>
            <ac:spMk id="2" creationId="{F2184C5A-DA94-4008-81AA-34FDFCD6C478}"/>
          </ac:spMkLst>
        </pc:spChg>
        <pc:spChg chg="add mod replST">
          <ac:chgData name="Hesse, Thomas Dr." userId="661ed4e0-7782-4a1c-9bc8-dd191b47db53" providerId="ADAL" clId="{C7B830A9-0123-4835-A836-7B72F5B1B7D9}" dt="2024-06-05T13:25:19.341" v="5743"/>
          <ac:spMkLst>
            <pc:docMk/>
            <pc:sldMk cId="127119610" sldId="1382"/>
            <ac:spMk id="4" creationId="{0FB473AD-EB04-417F-BAA5-CFA80CE721A4}"/>
          </ac:spMkLst>
        </pc:spChg>
        <pc:spChg chg="mod ord replST">
          <ac:chgData name="Hesse, Thomas Dr." userId="661ed4e0-7782-4a1c-9bc8-dd191b47db53" providerId="ADAL" clId="{C7B830A9-0123-4835-A836-7B72F5B1B7D9}" dt="2024-06-05T13:25:19.346" v="5763"/>
          <ac:spMkLst>
            <pc:docMk/>
            <pc:sldMk cId="127119610" sldId="1382"/>
            <ac:spMk id="5" creationId="{6B1F5C95-1F4D-E0FF-015B-6E736C31D288}"/>
          </ac:spMkLst>
        </pc:spChg>
        <pc:spChg chg="add mod replST">
          <ac:chgData name="Hesse, Thomas Dr." userId="661ed4e0-7782-4a1c-9bc8-dd191b47db53" providerId="ADAL" clId="{C7B830A9-0123-4835-A836-7B72F5B1B7D9}" dt="2024-06-05T15:50:26.204" v="8825" actId="20577"/>
          <ac:spMkLst>
            <pc:docMk/>
            <pc:sldMk cId="127119610" sldId="1382"/>
            <ac:spMk id="6" creationId="{FC093E87-1577-48CA-AB00-5C075EC783E1}"/>
          </ac:spMkLst>
        </pc:spChg>
        <pc:spChg chg="add mod">
          <ac:chgData name="Hesse, Thomas Dr." userId="661ed4e0-7782-4a1c-9bc8-dd191b47db53" providerId="ADAL" clId="{C7B830A9-0123-4835-A836-7B72F5B1B7D9}" dt="2024-06-05T13:25:19.221" v="5576"/>
          <ac:spMkLst>
            <pc:docMk/>
            <pc:sldMk cId="127119610" sldId="1382"/>
            <ac:spMk id="8" creationId="{DDFD1C8D-67FD-455B-9704-1CE16FFAA7A2}"/>
          </ac:spMkLst>
        </pc:spChg>
        <pc:spChg chg="add mod replST">
          <ac:chgData name="Hesse, Thomas Dr." userId="661ed4e0-7782-4a1c-9bc8-dd191b47db53" providerId="ADAL" clId="{C7B830A9-0123-4835-A836-7B72F5B1B7D9}" dt="2024-06-05T13:25:19.341" v="5743"/>
          <ac:spMkLst>
            <pc:docMk/>
            <pc:sldMk cId="127119610" sldId="1382"/>
            <ac:spMk id="11" creationId="{B61CB580-DF8B-48AF-BCE7-BFEC15B6A502}"/>
          </ac:spMkLst>
        </pc:spChg>
        <pc:spChg chg="add mod replST">
          <ac:chgData name="Hesse, Thomas Dr." userId="661ed4e0-7782-4a1c-9bc8-dd191b47db53" providerId="ADAL" clId="{C7B830A9-0123-4835-A836-7B72F5B1B7D9}" dt="2024-06-05T13:25:19.341" v="5743"/>
          <ac:spMkLst>
            <pc:docMk/>
            <pc:sldMk cId="127119610" sldId="1382"/>
            <ac:spMk id="12" creationId="{1E6469EE-1B98-4322-AEB5-C9BF1E8A474D}"/>
          </ac:spMkLst>
        </pc:spChg>
        <pc:spChg chg="add mod replST">
          <ac:chgData name="Hesse, Thomas Dr." userId="661ed4e0-7782-4a1c-9bc8-dd191b47db53" providerId="ADAL" clId="{C7B830A9-0123-4835-A836-7B72F5B1B7D9}" dt="2024-06-05T15:50:26.205" v="8826" actId="20577"/>
          <ac:spMkLst>
            <pc:docMk/>
            <pc:sldMk cId="127119610" sldId="1382"/>
            <ac:spMk id="13" creationId="{188A44A1-90B2-4719-B50D-B1923DD2398F}"/>
          </ac:spMkLst>
        </pc:spChg>
        <pc:spChg chg="add mod replST">
          <ac:chgData name="Hesse, Thomas Dr." userId="661ed4e0-7782-4a1c-9bc8-dd191b47db53" providerId="ADAL" clId="{C7B830A9-0123-4835-A836-7B72F5B1B7D9}" dt="2024-06-05T13:25:19.341" v="5743"/>
          <ac:spMkLst>
            <pc:docMk/>
            <pc:sldMk cId="127119610" sldId="1382"/>
            <ac:spMk id="17" creationId="{B61CB580-DF8B-48AF-BCE7-BFEC15B6A502}"/>
          </ac:spMkLst>
        </pc:spChg>
        <pc:spChg chg="add mod replST">
          <ac:chgData name="Hesse, Thomas Dr." userId="661ed4e0-7782-4a1c-9bc8-dd191b47db53" providerId="ADAL" clId="{C7B830A9-0123-4835-A836-7B72F5B1B7D9}" dt="2024-06-05T13:25:19.341" v="5743"/>
          <ac:spMkLst>
            <pc:docMk/>
            <pc:sldMk cId="127119610" sldId="1382"/>
            <ac:spMk id="18" creationId="{1E6469EE-1B98-4322-AEB5-C9BF1E8A474D}"/>
          </ac:spMkLst>
        </pc:spChg>
        <pc:spChg chg="add mod replST">
          <ac:chgData name="Hesse, Thomas Dr." userId="661ed4e0-7782-4a1c-9bc8-dd191b47db53" providerId="ADAL" clId="{C7B830A9-0123-4835-A836-7B72F5B1B7D9}" dt="2024-06-05T15:50:26.206" v="8827" actId="20577"/>
          <ac:spMkLst>
            <pc:docMk/>
            <pc:sldMk cId="127119610" sldId="1382"/>
            <ac:spMk id="19" creationId="{188A44A1-90B2-4719-B50D-B1923DD2398F}"/>
          </ac:spMkLst>
        </pc:spChg>
        <pc:spChg chg="mod">
          <ac:chgData name="Hesse, Thomas Dr." userId="661ed4e0-7782-4a1c-9bc8-dd191b47db53" providerId="ADAL" clId="{C7B830A9-0123-4835-A836-7B72F5B1B7D9}" dt="2024-06-05T13:25:46.599" v="6367" actId="313"/>
          <ac:spMkLst>
            <pc:docMk/>
            <pc:sldMk cId="127119610" sldId="1382"/>
            <ac:spMk id="23" creationId="{D945C549-FC5F-4B45-DDE5-00F4D6B38302}"/>
          </ac:spMkLst>
        </pc:spChg>
        <pc:grpChg chg="add mod ord replST">
          <ac:chgData name="Hesse, Thomas Dr." userId="661ed4e0-7782-4a1c-9bc8-dd191b47db53" providerId="ADAL" clId="{C7B830A9-0123-4835-A836-7B72F5B1B7D9}" dt="2024-06-05T13:25:19.341" v="5743"/>
          <ac:grpSpMkLst>
            <pc:docMk/>
            <pc:sldMk cId="127119610" sldId="1382"/>
            <ac:grpSpMk id="7" creationId="{1A8D0AF9-D849-489E-955F-E4F60B6BF84B}"/>
          </ac:grpSpMkLst>
        </pc:grpChg>
        <pc:grpChg chg="add mod ord replST">
          <ac:chgData name="Hesse, Thomas Dr." userId="661ed4e0-7782-4a1c-9bc8-dd191b47db53" providerId="ADAL" clId="{C7B830A9-0123-4835-A836-7B72F5B1B7D9}" dt="2024-06-05T13:25:19.341" v="5743"/>
          <ac:grpSpMkLst>
            <pc:docMk/>
            <pc:sldMk cId="127119610" sldId="1382"/>
            <ac:grpSpMk id="14" creationId="{F6C87C0E-1651-4964-8214-4B8A6FB75CB9}"/>
          </ac:grpSpMkLst>
        </pc:grpChg>
        <pc:grpChg chg="add mod ord replST">
          <ac:chgData name="Hesse, Thomas Dr." userId="661ed4e0-7782-4a1c-9bc8-dd191b47db53" providerId="ADAL" clId="{C7B830A9-0123-4835-A836-7B72F5B1B7D9}" dt="2024-06-05T13:25:19.341" v="5743"/>
          <ac:grpSpMkLst>
            <pc:docMk/>
            <pc:sldMk cId="127119610" sldId="1382"/>
            <ac:grpSpMk id="20" creationId="{F6C87C0E-1651-4964-8214-4B8A6FB75CB9}"/>
          </ac:grpSpMkLst>
        </pc:grpChg>
        <pc:grpChg chg="add mod replST">
          <ac:chgData name="Hesse, Thomas Dr." userId="661ed4e0-7782-4a1c-9bc8-dd191b47db53" providerId="ADAL" clId="{C7B830A9-0123-4835-A836-7B72F5B1B7D9}" dt="2024-06-05T13:25:19.346" v="5761"/>
          <ac:grpSpMkLst>
            <pc:docMk/>
            <pc:sldMk cId="127119610" sldId="1382"/>
            <ac:grpSpMk id="24" creationId="{97ED119D-F168-DAA2-7BC7-986725A4AE2C}"/>
          </ac:grpSpMkLst>
        </pc:grpChg>
        <pc:cxnChg chg="add mod">
          <ac:chgData name="Hesse, Thomas Dr." userId="661ed4e0-7782-4a1c-9bc8-dd191b47db53" providerId="ADAL" clId="{C7B830A9-0123-4835-A836-7B72F5B1B7D9}" dt="2024-06-05T13:25:19.221" v="5576"/>
          <ac:cxnSpMkLst>
            <pc:docMk/>
            <pc:sldMk cId="127119610" sldId="1382"/>
            <ac:cxnSpMk id="9" creationId="{2FE8F699-9CAD-48EA-B487-78EB1D3307A8}"/>
          </ac:cxnSpMkLst>
        </pc:cxnChg>
        <pc:cxnChg chg="add mod">
          <ac:chgData name="Hesse, Thomas Dr." userId="661ed4e0-7782-4a1c-9bc8-dd191b47db53" providerId="ADAL" clId="{C7B830A9-0123-4835-A836-7B72F5B1B7D9}" dt="2024-06-05T13:25:19.221" v="5576"/>
          <ac:cxnSpMkLst>
            <pc:docMk/>
            <pc:sldMk cId="127119610" sldId="1382"/>
            <ac:cxnSpMk id="10" creationId="{5E5E54F6-1EA0-4CBA-8FD9-A9BE679583B4}"/>
          </ac:cxnSpMkLst>
        </pc:cxnChg>
        <pc:cxnChg chg="add mod">
          <ac:chgData name="Hesse, Thomas Dr." userId="661ed4e0-7782-4a1c-9bc8-dd191b47db53" providerId="ADAL" clId="{C7B830A9-0123-4835-A836-7B72F5B1B7D9}" dt="2024-06-05T13:25:19.283" v="5658"/>
          <ac:cxnSpMkLst>
            <pc:docMk/>
            <pc:sldMk cId="127119610" sldId="1382"/>
            <ac:cxnSpMk id="15" creationId="{D17F1784-2691-4FE4-AF82-B768FFFD942A}"/>
          </ac:cxnSpMkLst>
        </pc:cxnChg>
        <pc:cxnChg chg="add mod">
          <ac:chgData name="Hesse, Thomas Dr." userId="661ed4e0-7782-4a1c-9bc8-dd191b47db53" providerId="ADAL" clId="{C7B830A9-0123-4835-A836-7B72F5B1B7D9}" dt="2024-06-05T13:25:19.283" v="5658"/>
          <ac:cxnSpMkLst>
            <pc:docMk/>
            <pc:sldMk cId="127119610" sldId="1382"/>
            <ac:cxnSpMk id="16" creationId="{8A05B422-1F71-4726-B6E5-7BAA31B63A84}"/>
          </ac:cxnSpMkLst>
        </pc:cxnChg>
        <pc:cxnChg chg="add mod">
          <ac:chgData name="Hesse, Thomas Dr." userId="661ed4e0-7782-4a1c-9bc8-dd191b47db53" providerId="ADAL" clId="{C7B830A9-0123-4835-A836-7B72F5B1B7D9}" dt="2024-06-05T13:25:19.340" v="5740"/>
          <ac:cxnSpMkLst>
            <pc:docMk/>
            <pc:sldMk cId="127119610" sldId="1382"/>
            <ac:cxnSpMk id="21" creationId="{D17F1784-2691-4FE4-AF82-B768FFFD942A}"/>
          </ac:cxnSpMkLst>
        </pc:cxnChg>
        <pc:cxnChg chg="add mod">
          <ac:chgData name="Hesse, Thomas Dr." userId="661ed4e0-7782-4a1c-9bc8-dd191b47db53" providerId="ADAL" clId="{C7B830A9-0123-4835-A836-7B72F5B1B7D9}" dt="2024-06-05T13:25:19.340" v="5740"/>
          <ac:cxnSpMkLst>
            <pc:docMk/>
            <pc:sldMk cId="127119610" sldId="1382"/>
            <ac:cxnSpMk id="22" creationId="{8A05B422-1F71-4726-B6E5-7BAA31B63A84}"/>
          </ac:cxnSpMkLst>
        </pc:cxnChg>
      </pc:sldChg>
      <pc:sldChg chg="addSp modSp add del mod ord">
        <pc:chgData name="Hesse, Thomas Dr." userId="661ed4e0-7782-4a1c-9bc8-dd191b47db53" providerId="ADAL" clId="{C7B830A9-0123-4835-A836-7B72F5B1B7D9}" dt="2024-06-05T16:31:59.203" v="11330" actId="2696"/>
        <pc:sldMkLst>
          <pc:docMk/>
          <pc:sldMk cId="2894798870" sldId="1383"/>
        </pc:sldMkLst>
        <pc:spChg chg="add mod replST">
          <ac:chgData name="Hesse, Thomas Dr." userId="661ed4e0-7782-4a1c-9bc8-dd191b47db53" providerId="ADAL" clId="{C7B830A9-0123-4835-A836-7B72F5B1B7D9}" dt="2024-06-05T13:25:19.551" v="6014"/>
          <ac:spMkLst>
            <pc:docMk/>
            <pc:sldMk cId="2894798870" sldId="1383"/>
            <ac:spMk id="2" creationId="{B61CB580-DF8B-48AF-BCE7-BFEC15B6A502}"/>
          </ac:spMkLst>
        </pc:spChg>
        <pc:spChg chg="add mod replST">
          <ac:chgData name="Hesse, Thomas Dr." userId="661ed4e0-7782-4a1c-9bc8-dd191b47db53" providerId="ADAL" clId="{C7B830A9-0123-4835-A836-7B72F5B1B7D9}" dt="2024-06-05T13:25:19.551" v="6014"/>
          <ac:spMkLst>
            <pc:docMk/>
            <pc:sldMk cId="2894798870" sldId="1383"/>
            <ac:spMk id="4" creationId="{1E6469EE-1B98-4322-AEB5-C9BF1E8A474D}"/>
          </ac:spMkLst>
        </pc:spChg>
        <pc:spChg chg="mod ord replST">
          <ac:chgData name="Hesse, Thomas Dr." userId="661ed4e0-7782-4a1c-9bc8-dd191b47db53" providerId="ADAL" clId="{C7B830A9-0123-4835-A836-7B72F5B1B7D9}" dt="2024-06-05T13:25:19.555" v="6034"/>
          <ac:spMkLst>
            <pc:docMk/>
            <pc:sldMk cId="2894798870" sldId="1383"/>
            <ac:spMk id="5" creationId="{6B1F5C95-1F4D-E0FF-015B-6E736C31D288}"/>
          </ac:spMkLst>
        </pc:spChg>
        <pc:spChg chg="add mod replST">
          <ac:chgData name="Hesse, Thomas Dr." userId="661ed4e0-7782-4a1c-9bc8-dd191b47db53" providerId="ADAL" clId="{C7B830A9-0123-4835-A836-7B72F5B1B7D9}" dt="2024-06-05T15:50:26.207" v="8828" actId="20577"/>
          <ac:spMkLst>
            <pc:docMk/>
            <pc:sldMk cId="2894798870" sldId="1383"/>
            <ac:spMk id="6" creationId="{188A44A1-90B2-4719-B50D-B1923DD2398F}"/>
          </ac:spMkLst>
        </pc:spChg>
        <pc:spChg chg="add mod replST">
          <ac:chgData name="Hesse, Thomas Dr." userId="661ed4e0-7782-4a1c-9bc8-dd191b47db53" providerId="ADAL" clId="{C7B830A9-0123-4835-A836-7B72F5B1B7D9}" dt="2024-06-05T13:25:19.551" v="6014"/>
          <ac:spMkLst>
            <pc:docMk/>
            <pc:sldMk cId="2894798870" sldId="1383"/>
            <ac:spMk id="10" creationId="{F2184C5A-DA94-4008-81AA-34FDFCD6C478}"/>
          </ac:spMkLst>
        </pc:spChg>
        <pc:spChg chg="add mod replST">
          <ac:chgData name="Hesse, Thomas Dr." userId="661ed4e0-7782-4a1c-9bc8-dd191b47db53" providerId="ADAL" clId="{C7B830A9-0123-4835-A836-7B72F5B1B7D9}" dt="2024-06-05T13:25:19.551" v="6014"/>
          <ac:spMkLst>
            <pc:docMk/>
            <pc:sldMk cId="2894798870" sldId="1383"/>
            <ac:spMk id="11" creationId="{0FB473AD-EB04-417F-BAA5-CFA80CE721A4}"/>
          </ac:spMkLst>
        </pc:spChg>
        <pc:spChg chg="add mod replST">
          <ac:chgData name="Hesse, Thomas Dr." userId="661ed4e0-7782-4a1c-9bc8-dd191b47db53" providerId="ADAL" clId="{C7B830A9-0123-4835-A836-7B72F5B1B7D9}" dt="2024-06-05T15:50:26.208" v="8829" actId="20577"/>
          <ac:spMkLst>
            <pc:docMk/>
            <pc:sldMk cId="2894798870" sldId="1383"/>
            <ac:spMk id="12" creationId="{FC093E87-1577-48CA-AB00-5C075EC783E1}"/>
          </ac:spMkLst>
        </pc:spChg>
        <pc:spChg chg="add mod">
          <ac:chgData name="Hesse, Thomas Dr." userId="661ed4e0-7782-4a1c-9bc8-dd191b47db53" providerId="ADAL" clId="{C7B830A9-0123-4835-A836-7B72F5B1B7D9}" dt="2024-06-05T13:25:19.486" v="5929"/>
          <ac:spMkLst>
            <pc:docMk/>
            <pc:sldMk cId="2894798870" sldId="1383"/>
            <ac:spMk id="14" creationId="{DDFD1C8D-67FD-455B-9704-1CE16FFAA7A2}"/>
          </ac:spMkLst>
        </pc:spChg>
        <pc:spChg chg="add mod replST">
          <ac:chgData name="Hesse, Thomas Dr." userId="661ed4e0-7782-4a1c-9bc8-dd191b47db53" providerId="ADAL" clId="{C7B830A9-0123-4835-A836-7B72F5B1B7D9}" dt="2024-06-05T13:25:19.551" v="6014"/>
          <ac:spMkLst>
            <pc:docMk/>
            <pc:sldMk cId="2894798870" sldId="1383"/>
            <ac:spMk id="17" creationId="{B61CB580-DF8B-48AF-BCE7-BFEC15B6A502}"/>
          </ac:spMkLst>
        </pc:spChg>
        <pc:spChg chg="add mod replST">
          <ac:chgData name="Hesse, Thomas Dr." userId="661ed4e0-7782-4a1c-9bc8-dd191b47db53" providerId="ADAL" clId="{C7B830A9-0123-4835-A836-7B72F5B1B7D9}" dt="2024-06-05T13:25:19.551" v="6014"/>
          <ac:spMkLst>
            <pc:docMk/>
            <pc:sldMk cId="2894798870" sldId="1383"/>
            <ac:spMk id="18" creationId="{1E6469EE-1B98-4322-AEB5-C9BF1E8A474D}"/>
          </ac:spMkLst>
        </pc:spChg>
        <pc:spChg chg="add mod replST">
          <ac:chgData name="Hesse, Thomas Dr." userId="661ed4e0-7782-4a1c-9bc8-dd191b47db53" providerId="ADAL" clId="{C7B830A9-0123-4835-A836-7B72F5B1B7D9}" dt="2024-06-05T15:50:26.209" v="8830" actId="20577"/>
          <ac:spMkLst>
            <pc:docMk/>
            <pc:sldMk cId="2894798870" sldId="1383"/>
            <ac:spMk id="19" creationId="{188A44A1-90B2-4719-B50D-B1923DD2398F}"/>
          </ac:spMkLst>
        </pc:spChg>
        <pc:spChg chg="mod">
          <ac:chgData name="Hesse, Thomas Dr." userId="661ed4e0-7782-4a1c-9bc8-dd191b47db53" providerId="ADAL" clId="{C7B830A9-0123-4835-A836-7B72F5B1B7D9}" dt="2024-06-05T13:26:06.858" v="6396" actId="313"/>
          <ac:spMkLst>
            <pc:docMk/>
            <pc:sldMk cId="2894798870" sldId="1383"/>
            <ac:spMk id="23" creationId="{D945C549-FC5F-4B45-DDE5-00F4D6B38302}"/>
          </ac:spMkLst>
        </pc:spChg>
        <pc:grpChg chg="add mod ord replST">
          <ac:chgData name="Hesse, Thomas Dr." userId="661ed4e0-7782-4a1c-9bc8-dd191b47db53" providerId="ADAL" clId="{C7B830A9-0123-4835-A836-7B72F5B1B7D9}" dt="2024-06-05T13:25:19.551" v="6014"/>
          <ac:grpSpMkLst>
            <pc:docMk/>
            <pc:sldMk cId="2894798870" sldId="1383"/>
            <ac:grpSpMk id="7" creationId="{F6C87C0E-1651-4964-8214-4B8A6FB75CB9}"/>
          </ac:grpSpMkLst>
        </pc:grpChg>
        <pc:grpChg chg="add mod ord replST">
          <ac:chgData name="Hesse, Thomas Dr." userId="661ed4e0-7782-4a1c-9bc8-dd191b47db53" providerId="ADAL" clId="{C7B830A9-0123-4835-A836-7B72F5B1B7D9}" dt="2024-06-05T13:25:19.551" v="6014"/>
          <ac:grpSpMkLst>
            <pc:docMk/>
            <pc:sldMk cId="2894798870" sldId="1383"/>
            <ac:grpSpMk id="13" creationId="{1A8D0AF9-D849-489E-955F-E4F60B6BF84B}"/>
          </ac:grpSpMkLst>
        </pc:grpChg>
        <pc:grpChg chg="add mod ord replST">
          <ac:chgData name="Hesse, Thomas Dr." userId="661ed4e0-7782-4a1c-9bc8-dd191b47db53" providerId="ADAL" clId="{C7B830A9-0123-4835-A836-7B72F5B1B7D9}" dt="2024-06-05T13:25:19.551" v="6014"/>
          <ac:grpSpMkLst>
            <pc:docMk/>
            <pc:sldMk cId="2894798870" sldId="1383"/>
            <ac:grpSpMk id="20" creationId="{F6C87C0E-1651-4964-8214-4B8A6FB75CB9}"/>
          </ac:grpSpMkLst>
        </pc:grpChg>
        <pc:grpChg chg="add mod replST">
          <ac:chgData name="Hesse, Thomas Dr." userId="661ed4e0-7782-4a1c-9bc8-dd191b47db53" providerId="ADAL" clId="{C7B830A9-0123-4835-A836-7B72F5B1B7D9}" dt="2024-06-05T13:25:19.555" v="6032"/>
          <ac:grpSpMkLst>
            <pc:docMk/>
            <pc:sldMk cId="2894798870" sldId="1383"/>
            <ac:grpSpMk id="24" creationId="{0108D1C1-E7F4-853B-1ED4-CBCDEB6B3600}"/>
          </ac:grpSpMkLst>
        </pc:grpChg>
        <pc:cxnChg chg="add mod">
          <ac:chgData name="Hesse, Thomas Dr." userId="661ed4e0-7782-4a1c-9bc8-dd191b47db53" providerId="ADAL" clId="{C7B830A9-0123-4835-A836-7B72F5B1B7D9}" dt="2024-06-05T13:25:19.425" v="5845"/>
          <ac:cxnSpMkLst>
            <pc:docMk/>
            <pc:sldMk cId="2894798870" sldId="1383"/>
            <ac:cxnSpMk id="8" creationId="{D17F1784-2691-4FE4-AF82-B768FFFD942A}"/>
          </ac:cxnSpMkLst>
        </pc:cxnChg>
        <pc:cxnChg chg="add mod">
          <ac:chgData name="Hesse, Thomas Dr." userId="661ed4e0-7782-4a1c-9bc8-dd191b47db53" providerId="ADAL" clId="{C7B830A9-0123-4835-A836-7B72F5B1B7D9}" dt="2024-06-05T13:25:19.425" v="5845"/>
          <ac:cxnSpMkLst>
            <pc:docMk/>
            <pc:sldMk cId="2894798870" sldId="1383"/>
            <ac:cxnSpMk id="9" creationId="{8A05B422-1F71-4726-B6E5-7BAA31B63A84}"/>
          </ac:cxnSpMkLst>
        </pc:cxnChg>
        <pc:cxnChg chg="add mod">
          <ac:chgData name="Hesse, Thomas Dr." userId="661ed4e0-7782-4a1c-9bc8-dd191b47db53" providerId="ADAL" clId="{C7B830A9-0123-4835-A836-7B72F5B1B7D9}" dt="2024-06-05T13:25:19.486" v="5929"/>
          <ac:cxnSpMkLst>
            <pc:docMk/>
            <pc:sldMk cId="2894798870" sldId="1383"/>
            <ac:cxnSpMk id="15" creationId="{2FE8F699-9CAD-48EA-B487-78EB1D3307A8}"/>
          </ac:cxnSpMkLst>
        </pc:cxnChg>
        <pc:cxnChg chg="add mod">
          <ac:chgData name="Hesse, Thomas Dr." userId="661ed4e0-7782-4a1c-9bc8-dd191b47db53" providerId="ADAL" clId="{C7B830A9-0123-4835-A836-7B72F5B1B7D9}" dt="2024-06-05T13:25:19.486" v="5929"/>
          <ac:cxnSpMkLst>
            <pc:docMk/>
            <pc:sldMk cId="2894798870" sldId="1383"/>
            <ac:cxnSpMk id="16" creationId="{5E5E54F6-1EA0-4CBA-8FD9-A9BE679583B4}"/>
          </ac:cxnSpMkLst>
        </pc:cxnChg>
        <pc:cxnChg chg="add mod">
          <ac:chgData name="Hesse, Thomas Dr." userId="661ed4e0-7782-4a1c-9bc8-dd191b47db53" providerId="ADAL" clId="{C7B830A9-0123-4835-A836-7B72F5B1B7D9}" dt="2024-06-05T13:25:19.549" v="6011"/>
          <ac:cxnSpMkLst>
            <pc:docMk/>
            <pc:sldMk cId="2894798870" sldId="1383"/>
            <ac:cxnSpMk id="21" creationId="{D17F1784-2691-4FE4-AF82-B768FFFD942A}"/>
          </ac:cxnSpMkLst>
        </pc:cxnChg>
        <pc:cxnChg chg="add mod">
          <ac:chgData name="Hesse, Thomas Dr." userId="661ed4e0-7782-4a1c-9bc8-dd191b47db53" providerId="ADAL" clId="{C7B830A9-0123-4835-A836-7B72F5B1B7D9}" dt="2024-06-05T13:25:19.549" v="6011"/>
          <ac:cxnSpMkLst>
            <pc:docMk/>
            <pc:sldMk cId="2894798870" sldId="1383"/>
            <ac:cxnSpMk id="22" creationId="{8A05B422-1F71-4726-B6E5-7BAA31B63A84}"/>
          </ac:cxnSpMkLst>
        </pc:cxnChg>
      </pc:sldChg>
      <pc:sldChg chg="addSp modSp add del mod ord">
        <pc:chgData name="Hesse, Thomas Dr." userId="661ed4e0-7782-4a1c-9bc8-dd191b47db53" providerId="ADAL" clId="{C7B830A9-0123-4835-A836-7B72F5B1B7D9}" dt="2024-06-05T16:31:59.210" v="11331" actId="2696"/>
        <pc:sldMkLst>
          <pc:docMk/>
          <pc:sldMk cId="332867636" sldId="1384"/>
        </pc:sldMkLst>
        <pc:spChg chg="add mod replST">
          <ac:chgData name="Hesse, Thomas Dr." userId="661ed4e0-7782-4a1c-9bc8-dd191b47db53" providerId="ADAL" clId="{C7B830A9-0123-4835-A836-7B72F5B1B7D9}" dt="2024-06-05T13:25:19.758" v="6285"/>
          <ac:spMkLst>
            <pc:docMk/>
            <pc:sldMk cId="332867636" sldId="1384"/>
            <ac:spMk id="2" creationId="{B61CB580-DF8B-48AF-BCE7-BFEC15B6A502}"/>
          </ac:spMkLst>
        </pc:spChg>
        <pc:spChg chg="add mod replST">
          <ac:chgData name="Hesse, Thomas Dr." userId="661ed4e0-7782-4a1c-9bc8-dd191b47db53" providerId="ADAL" clId="{C7B830A9-0123-4835-A836-7B72F5B1B7D9}" dt="2024-06-05T13:25:19.758" v="6285"/>
          <ac:spMkLst>
            <pc:docMk/>
            <pc:sldMk cId="332867636" sldId="1384"/>
            <ac:spMk id="4" creationId="{1E6469EE-1B98-4322-AEB5-C9BF1E8A474D}"/>
          </ac:spMkLst>
        </pc:spChg>
        <pc:spChg chg="mod ord replST">
          <ac:chgData name="Hesse, Thomas Dr." userId="661ed4e0-7782-4a1c-9bc8-dd191b47db53" providerId="ADAL" clId="{C7B830A9-0123-4835-A836-7B72F5B1B7D9}" dt="2024-06-05T13:25:19.762" v="6305"/>
          <ac:spMkLst>
            <pc:docMk/>
            <pc:sldMk cId="332867636" sldId="1384"/>
            <ac:spMk id="5" creationId="{6B1F5C95-1F4D-E0FF-015B-6E736C31D288}"/>
          </ac:spMkLst>
        </pc:spChg>
        <pc:spChg chg="add mod replST">
          <ac:chgData name="Hesse, Thomas Dr." userId="661ed4e0-7782-4a1c-9bc8-dd191b47db53" providerId="ADAL" clId="{C7B830A9-0123-4835-A836-7B72F5B1B7D9}" dt="2024-06-05T15:50:26.210" v="8831" actId="20577"/>
          <ac:spMkLst>
            <pc:docMk/>
            <pc:sldMk cId="332867636" sldId="1384"/>
            <ac:spMk id="6" creationId="{188A44A1-90B2-4719-B50D-B1923DD2398F}"/>
          </ac:spMkLst>
        </pc:spChg>
        <pc:spChg chg="add mod replST">
          <ac:chgData name="Hesse, Thomas Dr." userId="661ed4e0-7782-4a1c-9bc8-dd191b47db53" providerId="ADAL" clId="{C7B830A9-0123-4835-A836-7B72F5B1B7D9}" dt="2024-06-05T13:25:19.758" v="6285"/>
          <ac:spMkLst>
            <pc:docMk/>
            <pc:sldMk cId="332867636" sldId="1384"/>
            <ac:spMk id="10" creationId="{B61CB580-DF8B-48AF-BCE7-BFEC15B6A502}"/>
          </ac:spMkLst>
        </pc:spChg>
        <pc:spChg chg="add mod replST">
          <ac:chgData name="Hesse, Thomas Dr." userId="661ed4e0-7782-4a1c-9bc8-dd191b47db53" providerId="ADAL" clId="{C7B830A9-0123-4835-A836-7B72F5B1B7D9}" dt="2024-06-05T13:25:19.758" v="6285"/>
          <ac:spMkLst>
            <pc:docMk/>
            <pc:sldMk cId="332867636" sldId="1384"/>
            <ac:spMk id="11" creationId="{1E6469EE-1B98-4322-AEB5-C9BF1E8A474D}"/>
          </ac:spMkLst>
        </pc:spChg>
        <pc:spChg chg="add mod replST">
          <ac:chgData name="Hesse, Thomas Dr." userId="661ed4e0-7782-4a1c-9bc8-dd191b47db53" providerId="ADAL" clId="{C7B830A9-0123-4835-A836-7B72F5B1B7D9}" dt="2024-06-05T15:50:26.211" v="8832" actId="20577"/>
          <ac:spMkLst>
            <pc:docMk/>
            <pc:sldMk cId="332867636" sldId="1384"/>
            <ac:spMk id="12" creationId="{188A44A1-90B2-4719-B50D-B1923DD2398F}"/>
          </ac:spMkLst>
        </pc:spChg>
        <pc:spChg chg="add mod replST">
          <ac:chgData name="Hesse, Thomas Dr." userId="661ed4e0-7782-4a1c-9bc8-dd191b47db53" providerId="ADAL" clId="{C7B830A9-0123-4835-A836-7B72F5B1B7D9}" dt="2024-06-05T13:25:19.758" v="6285"/>
          <ac:spMkLst>
            <pc:docMk/>
            <pc:sldMk cId="332867636" sldId="1384"/>
            <ac:spMk id="16" creationId="{F2184C5A-DA94-4008-81AA-34FDFCD6C478}"/>
          </ac:spMkLst>
        </pc:spChg>
        <pc:spChg chg="add mod replST">
          <ac:chgData name="Hesse, Thomas Dr." userId="661ed4e0-7782-4a1c-9bc8-dd191b47db53" providerId="ADAL" clId="{C7B830A9-0123-4835-A836-7B72F5B1B7D9}" dt="2024-06-05T13:25:19.758" v="6285"/>
          <ac:spMkLst>
            <pc:docMk/>
            <pc:sldMk cId="332867636" sldId="1384"/>
            <ac:spMk id="17" creationId="{0FB473AD-EB04-417F-BAA5-CFA80CE721A4}"/>
          </ac:spMkLst>
        </pc:spChg>
        <pc:spChg chg="add mod replST">
          <ac:chgData name="Hesse, Thomas Dr." userId="661ed4e0-7782-4a1c-9bc8-dd191b47db53" providerId="ADAL" clId="{C7B830A9-0123-4835-A836-7B72F5B1B7D9}" dt="2024-06-05T15:50:26.212" v="8833" actId="20577"/>
          <ac:spMkLst>
            <pc:docMk/>
            <pc:sldMk cId="332867636" sldId="1384"/>
            <ac:spMk id="18" creationId="{FC093E87-1577-48CA-AB00-5C075EC783E1}"/>
          </ac:spMkLst>
        </pc:spChg>
        <pc:spChg chg="add mod">
          <ac:chgData name="Hesse, Thomas Dr." userId="661ed4e0-7782-4a1c-9bc8-dd191b47db53" providerId="ADAL" clId="{C7B830A9-0123-4835-A836-7B72F5B1B7D9}" dt="2024-06-05T13:25:19.756" v="6282"/>
          <ac:spMkLst>
            <pc:docMk/>
            <pc:sldMk cId="332867636" sldId="1384"/>
            <ac:spMk id="20" creationId="{DDFD1C8D-67FD-455B-9704-1CE16FFAA7A2}"/>
          </ac:spMkLst>
        </pc:spChg>
        <pc:spChg chg="mod">
          <ac:chgData name="Hesse, Thomas Dr." userId="661ed4e0-7782-4a1c-9bc8-dd191b47db53" providerId="ADAL" clId="{C7B830A9-0123-4835-A836-7B72F5B1B7D9}" dt="2024-06-05T13:26:09.247" v="6399" actId="313"/>
          <ac:spMkLst>
            <pc:docMk/>
            <pc:sldMk cId="332867636" sldId="1384"/>
            <ac:spMk id="23" creationId="{D945C549-FC5F-4B45-DDE5-00F4D6B38302}"/>
          </ac:spMkLst>
        </pc:spChg>
        <pc:grpChg chg="add mod ord replST">
          <ac:chgData name="Hesse, Thomas Dr." userId="661ed4e0-7782-4a1c-9bc8-dd191b47db53" providerId="ADAL" clId="{C7B830A9-0123-4835-A836-7B72F5B1B7D9}" dt="2024-06-05T13:25:19.758" v="6285"/>
          <ac:grpSpMkLst>
            <pc:docMk/>
            <pc:sldMk cId="332867636" sldId="1384"/>
            <ac:grpSpMk id="7" creationId="{F6C87C0E-1651-4964-8214-4B8A6FB75CB9}"/>
          </ac:grpSpMkLst>
        </pc:grpChg>
        <pc:grpChg chg="add mod ord replST">
          <ac:chgData name="Hesse, Thomas Dr." userId="661ed4e0-7782-4a1c-9bc8-dd191b47db53" providerId="ADAL" clId="{C7B830A9-0123-4835-A836-7B72F5B1B7D9}" dt="2024-06-05T13:25:19.758" v="6285"/>
          <ac:grpSpMkLst>
            <pc:docMk/>
            <pc:sldMk cId="332867636" sldId="1384"/>
            <ac:grpSpMk id="13" creationId="{F6C87C0E-1651-4964-8214-4B8A6FB75CB9}"/>
          </ac:grpSpMkLst>
        </pc:grpChg>
        <pc:grpChg chg="add mod ord replST">
          <ac:chgData name="Hesse, Thomas Dr." userId="661ed4e0-7782-4a1c-9bc8-dd191b47db53" providerId="ADAL" clId="{C7B830A9-0123-4835-A836-7B72F5B1B7D9}" dt="2024-06-05T13:25:19.758" v="6285"/>
          <ac:grpSpMkLst>
            <pc:docMk/>
            <pc:sldMk cId="332867636" sldId="1384"/>
            <ac:grpSpMk id="19" creationId="{1A8D0AF9-D849-489E-955F-E4F60B6BF84B}"/>
          </ac:grpSpMkLst>
        </pc:grpChg>
        <pc:grpChg chg="add mod replST">
          <ac:chgData name="Hesse, Thomas Dr." userId="661ed4e0-7782-4a1c-9bc8-dd191b47db53" providerId="ADAL" clId="{C7B830A9-0123-4835-A836-7B72F5B1B7D9}" dt="2024-06-05T13:25:19.761" v="6303"/>
          <ac:grpSpMkLst>
            <pc:docMk/>
            <pc:sldMk cId="332867636" sldId="1384"/>
            <ac:grpSpMk id="24" creationId="{6D7E450D-D76C-AD43-9B40-A8810C3D2E14}"/>
          </ac:grpSpMkLst>
        </pc:grpChg>
        <pc:cxnChg chg="add mod">
          <ac:chgData name="Hesse, Thomas Dr." userId="661ed4e0-7782-4a1c-9bc8-dd191b47db53" providerId="ADAL" clId="{C7B830A9-0123-4835-A836-7B72F5B1B7D9}" dt="2024-06-05T13:25:19.629" v="6116"/>
          <ac:cxnSpMkLst>
            <pc:docMk/>
            <pc:sldMk cId="332867636" sldId="1384"/>
            <ac:cxnSpMk id="8" creationId="{D17F1784-2691-4FE4-AF82-B768FFFD942A}"/>
          </ac:cxnSpMkLst>
        </pc:cxnChg>
        <pc:cxnChg chg="add mod">
          <ac:chgData name="Hesse, Thomas Dr." userId="661ed4e0-7782-4a1c-9bc8-dd191b47db53" providerId="ADAL" clId="{C7B830A9-0123-4835-A836-7B72F5B1B7D9}" dt="2024-06-05T13:25:19.629" v="6116"/>
          <ac:cxnSpMkLst>
            <pc:docMk/>
            <pc:sldMk cId="332867636" sldId="1384"/>
            <ac:cxnSpMk id="9" creationId="{8A05B422-1F71-4726-B6E5-7BAA31B63A84}"/>
          </ac:cxnSpMkLst>
        </pc:cxnChg>
        <pc:cxnChg chg="add mod">
          <ac:chgData name="Hesse, Thomas Dr." userId="661ed4e0-7782-4a1c-9bc8-dd191b47db53" providerId="ADAL" clId="{C7B830A9-0123-4835-A836-7B72F5B1B7D9}" dt="2024-06-05T13:25:19.692" v="6198"/>
          <ac:cxnSpMkLst>
            <pc:docMk/>
            <pc:sldMk cId="332867636" sldId="1384"/>
            <ac:cxnSpMk id="14" creationId="{D17F1784-2691-4FE4-AF82-B768FFFD942A}"/>
          </ac:cxnSpMkLst>
        </pc:cxnChg>
        <pc:cxnChg chg="add mod">
          <ac:chgData name="Hesse, Thomas Dr." userId="661ed4e0-7782-4a1c-9bc8-dd191b47db53" providerId="ADAL" clId="{C7B830A9-0123-4835-A836-7B72F5B1B7D9}" dt="2024-06-05T13:25:19.692" v="6198"/>
          <ac:cxnSpMkLst>
            <pc:docMk/>
            <pc:sldMk cId="332867636" sldId="1384"/>
            <ac:cxnSpMk id="15" creationId="{8A05B422-1F71-4726-B6E5-7BAA31B63A84}"/>
          </ac:cxnSpMkLst>
        </pc:cxnChg>
        <pc:cxnChg chg="add mod">
          <ac:chgData name="Hesse, Thomas Dr." userId="661ed4e0-7782-4a1c-9bc8-dd191b47db53" providerId="ADAL" clId="{C7B830A9-0123-4835-A836-7B72F5B1B7D9}" dt="2024-06-05T13:25:19.756" v="6282"/>
          <ac:cxnSpMkLst>
            <pc:docMk/>
            <pc:sldMk cId="332867636" sldId="1384"/>
            <ac:cxnSpMk id="21" creationId="{2FE8F699-9CAD-48EA-B487-78EB1D3307A8}"/>
          </ac:cxnSpMkLst>
        </pc:cxnChg>
        <pc:cxnChg chg="add mod">
          <ac:chgData name="Hesse, Thomas Dr." userId="661ed4e0-7782-4a1c-9bc8-dd191b47db53" providerId="ADAL" clId="{C7B830A9-0123-4835-A836-7B72F5B1B7D9}" dt="2024-06-05T13:25:19.756" v="6282"/>
          <ac:cxnSpMkLst>
            <pc:docMk/>
            <pc:sldMk cId="332867636" sldId="1384"/>
            <ac:cxnSpMk id="22" creationId="{5E5E54F6-1EA0-4CBA-8FD9-A9BE679583B4}"/>
          </ac:cxnSpMkLst>
        </pc:cxnChg>
      </pc:sldChg>
      <pc:sldChg chg="addSp modSp add mod ord">
        <pc:chgData name="Hesse, Thomas Dr." userId="661ed4e0-7782-4a1c-9bc8-dd191b47db53" providerId="ADAL" clId="{C7B830A9-0123-4835-A836-7B72F5B1B7D9}" dt="2024-06-05T16:49:07.913" v="11630" actId="1076"/>
        <pc:sldMkLst>
          <pc:docMk/>
          <pc:sldMk cId="4000445612" sldId="1385"/>
        </pc:sldMkLst>
        <pc:spChg chg="add mod">
          <ac:chgData name="Hesse, Thomas Dr." userId="661ed4e0-7782-4a1c-9bc8-dd191b47db53" providerId="ADAL" clId="{C7B830A9-0123-4835-A836-7B72F5B1B7D9}" dt="2024-06-05T16:47:58.122" v="11625"/>
          <ac:spMkLst>
            <pc:docMk/>
            <pc:sldMk cId="4000445612" sldId="1385"/>
            <ac:spMk id="3" creationId="{91FE465F-2D7E-89F3-515A-948BDA3DFF90}"/>
          </ac:spMkLst>
        </pc:spChg>
        <pc:spChg chg="mod">
          <ac:chgData name="Hesse, Thomas Dr." userId="661ed4e0-7782-4a1c-9bc8-dd191b47db53" providerId="ADAL" clId="{C7B830A9-0123-4835-A836-7B72F5B1B7D9}" dt="2024-06-05T16:20:34.715" v="9378" actId="20577"/>
          <ac:spMkLst>
            <pc:docMk/>
            <pc:sldMk cId="4000445612" sldId="1385"/>
            <ac:spMk id="9" creationId="{1CF653FB-3CD7-42B7-B8D0-DC30DD14EE37}"/>
          </ac:spMkLst>
        </pc:spChg>
        <pc:spChg chg="mod">
          <ac:chgData name="Hesse, Thomas Dr." userId="661ed4e0-7782-4a1c-9bc8-dd191b47db53" providerId="ADAL" clId="{C7B830A9-0123-4835-A836-7B72F5B1B7D9}" dt="2024-06-05T16:49:07.913" v="11630" actId="1076"/>
          <ac:spMkLst>
            <pc:docMk/>
            <pc:sldMk cId="4000445612" sldId="1385"/>
            <ac:spMk id="10" creationId="{8ABA3F66-E73A-47A1-A36F-1F2561667F15}"/>
          </ac:spMkLst>
        </pc:spChg>
      </pc:sldChg>
      <pc:sldChg chg="addSp modSp add mod ord">
        <pc:chgData name="Hesse, Thomas Dr." userId="661ed4e0-7782-4a1c-9bc8-dd191b47db53" providerId="ADAL" clId="{C7B830A9-0123-4835-A836-7B72F5B1B7D9}" dt="2024-06-05T16:48:38.586" v="11628" actId="1036"/>
        <pc:sldMkLst>
          <pc:docMk/>
          <pc:sldMk cId="3810306181" sldId="1386"/>
        </pc:sldMkLst>
        <pc:spChg chg="add mod">
          <ac:chgData name="Hesse, Thomas Dr." userId="661ed4e0-7782-4a1c-9bc8-dd191b47db53" providerId="ADAL" clId="{C7B830A9-0123-4835-A836-7B72F5B1B7D9}" dt="2024-06-05T16:47:14.812" v="11623"/>
          <ac:spMkLst>
            <pc:docMk/>
            <pc:sldMk cId="3810306181" sldId="1386"/>
            <ac:spMk id="3" creationId="{8362A879-6970-1788-F3B7-40B959C3BD87}"/>
          </ac:spMkLst>
        </pc:spChg>
        <pc:spChg chg="mod">
          <ac:chgData name="Hesse, Thomas Dr." userId="661ed4e0-7782-4a1c-9bc8-dd191b47db53" providerId="ADAL" clId="{C7B830A9-0123-4835-A836-7B72F5B1B7D9}" dt="2024-06-05T16:21:11.227" v="9385" actId="20577"/>
          <ac:spMkLst>
            <pc:docMk/>
            <pc:sldMk cId="3810306181" sldId="1386"/>
            <ac:spMk id="9" creationId="{1CF653FB-3CD7-42B7-B8D0-DC30DD14EE37}"/>
          </ac:spMkLst>
        </pc:spChg>
        <pc:spChg chg="mod">
          <ac:chgData name="Hesse, Thomas Dr." userId="661ed4e0-7782-4a1c-9bc8-dd191b47db53" providerId="ADAL" clId="{C7B830A9-0123-4835-A836-7B72F5B1B7D9}" dt="2024-06-05T16:48:38.586" v="11628" actId="1036"/>
          <ac:spMkLst>
            <pc:docMk/>
            <pc:sldMk cId="3810306181" sldId="1386"/>
            <ac:spMk id="10" creationId="{8ABA3F66-E73A-47A1-A36F-1F2561667F15}"/>
          </ac:spMkLst>
        </pc:spChg>
      </pc:sldChg>
      <pc:sldChg chg="addSp delSp modSp add mod ord">
        <pc:chgData name="Hesse, Thomas Dr." userId="661ed4e0-7782-4a1c-9bc8-dd191b47db53" providerId="ADAL" clId="{C7B830A9-0123-4835-A836-7B72F5B1B7D9}" dt="2024-06-05T16:37:22.636" v="11444" actId="1037"/>
        <pc:sldMkLst>
          <pc:docMk/>
          <pc:sldMk cId="2923309135" sldId="1387"/>
        </pc:sldMkLst>
        <pc:spChg chg="del replST delST">
          <ac:chgData name="Hesse, Thomas Dr." userId="661ed4e0-7782-4a1c-9bc8-dd191b47db53" providerId="ADAL" clId="{C7B830A9-0123-4835-A836-7B72F5B1B7D9}" dt="2024-06-05T14:42:12.724" v="8223" actId="478"/>
          <ac:spMkLst>
            <pc:docMk/>
            <pc:sldMk cId="2923309135" sldId="1387"/>
            <ac:spMk id="3" creationId="{4DC771F0-88C5-9148-6C2F-30F6F01C0848}"/>
          </ac:spMkLst>
        </pc:spChg>
        <pc:spChg chg="del replST delST">
          <ac:chgData name="Hesse, Thomas Dr." userId="661ed4e0-7782-4a1c-9bc8-dd191b47db53" providerId="ADAL" clId="{C7B830A9-0123-4835-A836-7B72F5B1B7D9}" dt="2024-06-05T14:42:12.724" v="8223" actId="478"/>
          <ac:spMkLst>
            <pc:docMk/>
            <pc:sldMk cId="2923309135" sldId="1387"/>
            <ac:spMk id="6" creationId="{E30E50DB-9E8F-001B-C8D8-CCE1E4D6A29C}"/>
          </ac:spMkLst>
        </pc:spChg>
        <pc:spChg chg="mod">
          <ac:chgData name="Hesse, Thomas Dr." userId="661ed4e0-7782-4a1c-9bc8-dd191b47db53" providerId="ADAL" clId="{C7B830A9-0123-4835-A836-7B72F5B1B7D9}" dt="2024-06-05T14:42:03.253" v="8132" actId="6549"/>
          <ac:spMkLst>
            <pc:docMk/>
            <pc:sldMk cId="2923309135" sldId="1387"/>
            <ac:spMk id="9" creationId="{1CF653FB-3CD7-42B7-B8D0-DC30DD14EE37}"/>
          </ac:spMkLst>
        </pc:spChg>
        <pc:spChg chg="del replST delST">
          <ac:chgData name="Hesse, Thomas Dr." userId="661ed4e0-7782-4a1c-9bc8-dd191b47db53" providerId="ADAL" clId="{C7B830A9-0123-4835-A836-7B72F5B1B7D9}" dt="2024-06-05T14:42:12.724" v="8223" actId="478"/>
          <ac:spMkLst>
            <pc:docMk/>
            <pc:sldMk cId="2923309135" sldId="1387"/>
            <ac:spMk id="14" creationId="{7DEC11E1-015A-4DAF-9977-92E96E7D4B84}"/>
          </ac:spMkLst>
        </pc:spChg>
        <pc:spChg chg="del replST delST">
          <ac:chgData name="Hesse, Thomas Dr." userId="661ed4e0-7782-4a1c-9bc8-dd191b47db53" providerId="ADAL" clId="{C7B830A9-0123-4835-A836-7B72F5B1B7D9}" dt="2024-06-05T14:42:12.724" v="8223" actId="478"/>
          <ac:spMkLst>
            <pc:docMk/>
            <pc:sldMk cId="2923309135" sldId="1387"/>
            <ac:spMk id="15" creationId="{FFA048F0-3F48-4719-8C00-8A9C019C386F}"/>
          </ac:spMkLst>
        </pc:spChg>
        <pc:spChg chg="del replST delST">
          <ac:chgData name="Hesse, Thomas Dr." userId="661ed4e0-7782-4a1c-9bc8-dd191b47db53" providerId="ADAL" clId="{C7B830A9-0123-4835-A836-7B72F5B1B7D9}" dt="2024-06-05T14:42:12.724" v="8223" actId="478"/>
          <ac:spMkLst>
            <pc:docMk/>
            <pc:sldMk cId="2923309135" sldId="1387"/>
            <ac:spMk id="16" creationId="{49E13429-6C50-4AF5-B747-895F949444BC}"/>
          </ac:spMkLst>
        </pc:spChg>
        <pc:picChg chg="del">
          <ac:chgData name="Hesse, Thomas Dr." userId="661ed4e0-7782-4a1c-9bc8-dd191b47db53" providerId="ADAL" clId="{C7B830A9-0123-4835-A836-7B72F5B1B7D9}" dt="2024-06-05T14:42:12.724" v="8223" actId="478"/>
          <ac:picMkLst>
            <pc:docMk/>
            <pc:sldMk cId="2923309135" sldId="1387"/>
            <ac:picMk id="5" creationId="{A1C9AF54-9496-C023-CA78-8DCD25D413B4}"/>
          </ac:picMkLst>
        </pc:picChg>
        <pc:picChg chg="del">
          <ac:chgData name="Hesse, Thomas Dr." userId="661ed4e0-7782-4a1c-9bc8-dd191b47db53" providerId="ADAL" clId="{C7B830A9-0123-4835-A836-7B72F5B1B7D9}" dt="2024-06-05T14:42:12.724" v="8223" actId="478"/>
          <ac:picMkLst>
            <pc:docMk/>
            <pc:sldMk cId="2923309135" sldId="1387"/>
            <ac:picMk id="7" creationId="{0ECB1D91-1E23-02D6-2938-53023E2E7955}"/>
          </ac:picMkLst>
        </pc:picChg>
        <pc:picChg chg="add mod">
          <ac:chgData name="Hesse, Thomas Dr." userId="661ed4e0-7782-4a1c-9bc8-dd191b47db53" providerId="ADAL" clId="{C7B830A9-0123-4835-A836-7B72F5B1B7D9}" dt="2024-06-05T16:37:22.636" v="11444" actId="1037"/>
          <ac:picMkLst>
            <pc:docMk/>
            <pc:sldMk cId="2923309135" sldId="1387"/>
            <ac:picMk id="10" creationId="{C2090546-8A1D-EDB1-ED9B-17E33ACF1ABA}"/>
          </ac:picMkLst>
        </pc:picChg>
        <pc:picChg chg="add mod">
          <ac:chgData name="Hesse, Thomas Dr." userId="661ed4e0-7782-4a1c-9bc8-dd191b47db53" providerId="ADAL" clId="{C7B830A9-0123-4835-A836-7B72F5B1B7D9}" dt="2024-06-05T16:37:14.395" v="11420" actId="1035"/>
          <ac:picMkLst>
            <pc:docMk/>
            <pc:sldMk cId="2923309135" sldId="1387"/>
            <ac:picMk id="12" creationId="{4DC90876-1A9F-8549-3160-5D989567D832}"/>
          </ac:picMkLst>
        </pc:picChg>
        <pc:picChg chg="del">
          <ac:chgData name="Hesse, Thomas Dr." userId="661ed4e0-7782-4a1c-9bc8-dd191b47db53" providerId="ADAL" clId="{C7B830A9-0123-4835-A836-7B72F5B1B7D9}" dt="2024-06-05T14:42:12.724" v="8223" actId="478"/>
          <ac:picMkLst>
            <pc:docMk/>
            <pc:sldMk cId="2923309135" sldId="1387"/>
            <ac:picMk id="19" creationId="{646ED198-B7FE-4FCB-A7C8-D15F7595A170}"/>
          </ac:picMkLst>
        </pc:picChg>
        <pc:picChg chg="del">
          <ac:chgData name="Hesse, Thomas Dr." userId="661ed4e0-7782-4a1c-9bc8-dd191b47db53" providerId="ADAL" clId="{C7B830A9-0123-4835-A836-7B72F5B1B7D9}" dt="2024-06-05T14:42:12.724" v="8223" actId="478"/>
          <ac:picMkLst>
            <pc:docMk/>
            <pc:sldMk cId="2923309135" sldId="1387"/>
            <ac:picMk id="23" creationId="{4FBD0800-76CA-44C6-9413-AA2084F17CCF}"/>
          </ac:picMkLst>
        </pc:picChg>
        <pc:picChg chg="del">
          <ac:chgData name="Hesse, Thomas Dr." userId="661ed4e0-7782-4a1c-9bc8-dd191b47db53" providerId="ADAL" clId="{C7B830A9-0123-4835-A836-7B72F5B1B7D9}" dt="2024-06-05T14:42:12.724" v="8223" actId="478"/>
          <ac:picMkLst>
            <pc:docMk/>
            <pc:sldMk cId="2923309135" sldId="1387"/>
            <ac:picMk id="25" creationId="{40B9391E-EB3B-42F7-A150-1CC6512ABC8B}"/>
          </ac:picMkLst>
        </pc:picChg>
      </pc:sldChg>
      <pc:sldChg chg="add del setBg">
        <pc:chgData name="Hesse, Thomas Dr." userId="661ed4e0-7782-4a1c-9bc8-dd191b47db53" providerId="ADAL" clId="{C7B830A9-0123-4835-A836-7B72F5B1B7D9}" dt="2024-06-05T14:49:47.502" v="8227" actId="47"/>
        <pc:sldMkLst>
          <pc:docMk/>
          <pc:sldMk cId="3314434780" sldId="1388"/>
        </pc:sldMkLst>
      </pc:sldChg>
      <pc:sldChg chg="modSp add mod ord">
        <pc:chgData name="Hesse, Thomas Dr." userId="661ed4e0-7782-4a1c-9bc8-dd191b47db53" providerId="ADAL" clId="{C7B830A9-0123-4835-A836-7B72F5B1B7D9}" dt="2024-06-05T16:31:59.170" v="11307"/>
        <pc:sldMkLst>
          <pc:docMk/>
          <pc:sldMk cId="2323179552" sldId="1389"/>
        </pc:sldMkLst>
        <pc:spChg chg="mod">
          <ac:chgData name="Hesse, Thomas Dr." userId="661ed4e0-7782-4a1c-9bc8-dd191b47db53" providerId="ADAL" clId="{C7B830A9-0123-4835-A836-7B72F5B1B7D9}" dt="2024-06-05T14:50:09.657" v="8254" actId="20577"/>
          <ac:spMkLst>
            <pc:docMk/>
            <pc:sldMk cId="2323179552" sldId="1389"/>
            <ac:spMk id="9" creationId="{1CF653FB-3CD7-42B7-B8D0-DC30DD14EE37}"/>
          </ac:spMkLst>
        </pc:spChg>
      </pc:sldChg>
      <pc:sldChg chg="modSp add mod ord">
        <pc:chgData name="Hesse, Thomas Dr." userId="661ed4e0-7782-4a1c-9bc8-dd191b47db53" providerId="ADAL" clId="{C7B830A9-0123-4835-A836-7B72F5B1B7D9}" dt="2024-06-05T16:31:59.170" v="11308"/>
        <pc:sldMkLst>
          <pc:docMk/>
          <pc:sldMk cId="970121942" sldId="1390"/>
        </pc:sldMkLst>
        <pc:spChg chg="mod">
          <ac:chgData name="Hesse, Thomas Dr." userId="661ed4e0-7782-4a1c-9bc8-dd191b47db53" providerId="ADAL" clId="{C7B830A9-0123-4835-A836-7B72F5B1B7D9}" dt="2024-06-05T16:14:38.968" v="9310" actId="20577"/>
          <ac:spMkLst>
            <pc:docMk/>
            <pc:sldMk cId="970121942" sldId="1390"/>
            <ac:spMk id="9" creationId="{1CF653FB-3CD7-42B7-B8D0-DC30DD14EE37}"/>
          </ac:spMkLst>
        </pc:spChg>
      </pc:sldChg>
      <pc:sldChg chg="addSp delSp modSp add mod ord">
        <pc:chgData name="Hesse, Thomas Dr." userId="661ed4e0-7782-4a1c-9bc8-dd191b47db53" providerId="ADAL" clId="{C7B830A9-0123-4835-A836-7B72F5B1B7D9}" dt="2024-06-05T16:31:59.171" v="11309"/>
        <pc:sldMkLst>
          <pc:docMk/>
          <pc:sldMk cId="2264025963" sldId="1391"/>
        </pc:sldMkLst>
        <pc:spChg chg="mod">
          <ac:chgData name="Hesse, Thomas Dr." userId="661ed4e0-7782-4a1c-9bc8-dd191b47db53" providerId="ADAL" clId="{C7B830A9-0123-4835-A836-7B72F5B1B7D9}" dt="2024-06-05T15:52:21.385" v="8984" actId="20577"/>
          <ac:spMkLst>
            <pc:docMk/>
            <pc:sldMk cId="2264025963" sldId="1391"/>
            <ac:spMk id="9" creationId="{1CF653FB-3CD7-42B7-B8D0-DC30DD14EE37}"/>
          </ac:spMkLst>
        </pc:spChg>
        <pc:spChg chg="del replST delST">
          <ac:chgData name="Hesse, Thomas Dr." userId="661ed4e0-7782-4a1c-9bc8-dd191b47db53" providerId="ADAL" clId="{C7B830A9-0123-4835-A836-7B72F5B1B7D9}" dt="2024-06-05T15:31:28.909" v="8331" actId="478"/>
          <ac:spMkLst>
            <pc:docMk/>
            <pc:sldMk cId="2264025963" sldId="1391"/>
            <ac:spMk id="13" creationId="{881CF73E-FF2F-4C51-9725-600E43082D5F}"/>
          </ac:spMkLst>
        </pc:spChg>
        <pc:spChg chg="del replST delST">
          <ac:chgData name="Hesse, Thomas Dr." userId="661ed4e0-7782-4a1c-9bc8-dd191b47db53" providerId="ADAL" clId="{C7B830A9-0123-4835-A836-7B72F5B1B7D9}" dt="2024-06-05T15:31:28.909" v="8331" actId="478"/>
          <ac:spMkLst>
            <pc:docMk/>
            <pc:sldMk cId="2264025963" sldId="1391"/>
            <ac:spMk id="14" creationId="{F5883C9C-EAB8-4CB7-9802-9079F5F55515}"/>
          </ac:spMkLst>
        </pc:spChg>
        <pc:spChg chg="del replST delST">
          <ac:chgData name="Hesse, Thomas Dr." userId="661ed4e0-7782-4a1c-9bc8-dd191b47db53" providerId="ADAL" clId="{C7B830A9-0123-4835-A836-7B72F5B1B7D9}" dt="2024-06-05T15:31:28.909" v="8331" actId="478"/>
          <ac:spMkLst>
            <pc:docMk/>
            <pc:sldMk cId="2264025963" sldId="1391"/>
            <ac:spMk id="15" creationId="{6B95E26A-EE55-4D6E-B6DD-B9D2DD2ECA49}"/>
          </ac:spMkLst>
        </pc:spChg>
        <pc:spChg chg="del replST delST">
          <ac:chgData name="Hesse, Thomas Dr." userId="661ed4e0-7782-4a1c-9bc8-dd191b47db53" providerId="ADAL" clId="{C7B830A9-0123-4835-A836-7B72F5B1B7D9}" dt="2024-06-05T15:31:28.909" v="8331" actId="478"/>
          <ac:spMkLst>
            <pc:docMk/>
            <pc:sldMk cId="2264025963" sldId="1391"/>
            <ac:spMk id="16" creationId="{7FC95E7A-7C21-4086-A39C-EEF57A08BDB2}"/>
          </ac:spMkLst>
        </pc:spChg>
        <pc:grpChg chg="add mod">
          <ac:chgData name="Hesse, Thomas Dr." userId="661ed4e0-7782-4a1c-9bc8-dd191b47db53" providerId="ADAL" clId="{C7B830A9-0123-4835-A836-7B72F5B1B7D9}" dt="2024-06-05T15:57:58.717" v="9022" actId="164"/>
          <ac:grpSpMkLst>
            <pc:docMk/>
            <pc:sldMk cId="2264025963" sldId="1391"/>
            <ac:grpSpMk id="26" creationId="{BEA6DCD3-5BCA-0E2D-0006-03FD2F6560FB}"/>
          </ac:grpSpMkLst>
        </pc:grpChg>
        <pc:picChg chg="add mod">
          <ac:chgData name="Hesse, Thomas Dr." userId="661ed4e0-7782-4a1c-9bc8-dd191b47db53" providerId="ADAL" clId="{C7B830A9-0123-4835-A836-7B72F5B1B7D9}" dt="2024-06-05T15:59:28.453" v="9027" actId="692"/>
          <ac:picMkLst>
            <pc:docMk/>
            <pc:sldMk cId="2264025963" sldId="1391"/>
            <ac:picMk id="5" creationId="{965B377E-E42C-F9C6-DDA6-C369C554F365}"/>
          </ac:picMkLst>
        </pc:picChg>
        <pc:picChg chg="add mod">
          <ac:chgData name="Hesse, Thomas Dr." userId="661ed4e0-7782-4a1c-9bc8-dd191b47db53" providerId="ADAL" clId="{C7B830A9-0123-4835-A836-7B72F5B1B7D9}" dt="2024-06-05T15:59:28.453" v="9027" actId="692"/>
          <ac:picMkLst>
            <pc:docMk/>
            <pc:sldMk cId="2264025963" sldId="1391"/>
            <ac:picMk id="7" creationId="{0CB99D42-FB01-6BCE-D591-3785405BA2EF}"/>
          </ac:picMkLst>
        </pc:picChg>
        <pc:picChg chg="add mod">
          <ac:chgData name="Hesse, Thomas Dr." userId="661ed4e0-7782-4a1c-9bc8-dd191b47db53" providerId="ADAL" clId="{C7B830A9-0123-4835-A836-7B72F5B1B7D9}" dt="2024-06-05T15:59:28.453" v="9027" actId="692"/>
          <ac:picMkLst>
            <pc:docMk/>
            <pc:sldMk cId="2264025963" sldId="1391"/>
            <ac:picMk id="11" creationId="{4802967C-1047-E40C-9E63-85CBD2FACE6F}"/>
          </ac:picMkLst>
        </pc:picChg>
        <pc:picChg chg="add del mod">
          <ac:chgData name="Hesse, Thomas Dr." userId="661ed4e0-7782-4a1c-9bc8-dd191b47db53" providerId="ADAL" clId="{C7B830A9-0123-4835-A836-7B72F5B1B7D9}" dt="2024-06-05T15:56:50.298" v="8985" actId="478"/>
          <ac:picMkLst>
            <pc:docMk/>
            <pc:sldMk cId="2264025963" sldId="1391"/>
            <ac:picMk id="17" creationId="{6DF44559-1DED-FD1F-2D29-CADB8F3E3A9B}"/>
          </ac:picMkLst>
        </pc:picChg>
        <pc:picChg chg="del">
          <ac:chgData name="Hesse, Thomas Dr." userId="661ed4e0-7782-4a1c-9bc8-dd191b47db53" providerId="ADAL" clId="{C7B830A9-0123-4835-A836-7B72F5B1B7D9}" dt="2024-06-05T15:31:25.540" v="8257" actId="478"/>
          <ac:picMkLst>
            <pc:docMk/>
            <pc:sldMk cId="2264025963" sldId="1391"/>
            <ac:picMk id="18" creationId="{A392154B-9A94-4527-B315-22C8F4C24BC2}"/>
          </ac:picMkLst>
        </pc:picChg>
        <pc:picChg chg="del">
          <ac:chgData name="Hesse, Thomas Dr." userId="661ed4e0-7782-4a1c-9bc8-dd191b47db53" providerId="ADAL" clId="{C7B830A9-0123-4835-A836-7B72F5B1B7D9}" dt="2024-06-05T15:31:25.094" v="8256" actId="478"/>
          <ac:picMkLst>
            <pc:docMk/>
            <pc:sldMk cId="2264025963" sldId="1391"/>
            <ac:picMk id="20" creationId="{F6D81B61-7143-4AA2-9E37-494A2FD8790F}"/>
          </ac:picMkLst>
        </pc:picChg>
        <pc:picChg chg="add del mod">
          <ac:chgData name="Hesse, Thomas Dr." userId="661ed4e0-7782-4a1c-9bc8-dd191b47db53" providerId="ADAL" clId="{C7B830A9-0123-4835-A836-7B72F5B1B7D9}" dt="2024-06-05T15:56:50.690" v="8986" actId="478"/>
          <ac:picMkLst>
            <pc:docMk/>
            <pc:sldMk cId="2264025963" sldId="1391"/>
            <ac:picMk id="21" creationId="{04DD1335-384F-BB48-F8EB-AAFAF96AAEEB}"/>
          </ac:picMkLst>
        </pc:picChg>
        <pc:picChg chg="del">
          <ac:chgData name="Hesse, Thomas Dr." userId="661ed4e0-7782-4a1c-9bc8-dd191b47db53" providerId="ADAL" clId="{C7B830A9-0123-4835-A836-7B72F5B1B7D9}" dt="2024-06-05T15:31:26.101" v="8258" actId="478"/>
          <ac:picMkLst>
            <pc:docMk/>
            <pc:sldMk cId="2264025963" sldId="1391"/>
            <ac:picMk id="22" creationId="{81AE223B-E3A4-4768-BE6F-43CFF28C939A}"/>
          </ac:picMkLst>
        </pc:picChg>
        <pc:picChg chg="del">
          <ac:chgData name="Hesse, Thomas Dr." userId="661ed4e0-7782-4a1c-9bc8-dd191b47db53" providerId="ADAL" clId="{C7B830A9-0123-4835-A836-7B72F5B1B7D9}" dt="2024-06-05T15:31:24.430" v="8255" actId="478"/>
          <ac:picMkLst>
            <pc:docMk/>
            <pc:sldMk cId="2264025963" sldId="1391"/>
            <ac:picMk id="24" creationId="{243DD274-CAAE-497C-BF18-0BA0C1E31E3E}"/>
          </ac:picMkLst>
        </pc:picChg>
        <pc:picChg chg="add mod">
          <ac:chgData name="Hesse, Thomas Dr." userId="661ed4e0-7782-4a1c-9bc8-dd191b47db53" providerId="ADAL" clId="{C7B830A9-0123-4835-A836-7B72F5B1B7D9}" dt="2024-06-05T15:59:28.453" v="9027" actId="692"/>
          <ac:picMkLst>
            <pc:docMk/>
            <pc:sldMk cId="2264025963" sldId="1391"/>
            <ac:picMk id="25" creationId="{575740B7-CC36-9B7A-D321-F5FB4E0EB574}"/>
          </ac:picMkLst>
        </pc:picChg>
      </pc:sldChg>
      <pc:sldChg chg="add del">
        <pc:chgData name="Hesse, Thomas Dr." userId="661ed4e0-7782-4a1c-9bc8-dd191b47db53" providerId="ADAL" clId="{C7B830A9-0123-4835-A836-7B72F5B1B7D9}" dt="2024-06-05T15:34:14.568" v="8388" actId="47"/>
        <pc:sldMkLst>
          <pc:docMk/>
          <pc:sldMk cId="3511798714" sldId="1392"/>
        </pc:sldMkLst>
      </pc:sldChg>
      <pc:sldChg chg="addSp delSp modSp add mod ord modAnim">
        <pc:chgData name="Hesse, Thomas Dr." userId="661ed4e0-7782-4a1c-9bc8-dd191b47db53" providerId="ADAL" clId="{C7B830A9-0123-4835-A836-7B72F5B1B7D9}" dt="2024-06-05T16:31:59.171" v="11310"/>
        <pc:sldMkLst>
          <pc:docMk/>
          <pc:sldMk cId="1082143344" sldId="1393"/>
        </pc:sldMkLst>
        <pc:spChg chg="add del mod">
          <ac:chgData name="Hesse, Thomas Dr." userId="661ed4e0-7782-4a1c-9bc8-dd191b47db53" providerId="ADAL" clId="{C7B830A9-0123-4835-A836-7B72F5B1B7D9}" dt="2024-06-05T15:36:44.046" v="8451" actId="478"/>
          <ac:spMkLst>
            <pc:docMk/>
            <pc:sldMk cId="1082143344" sldId="1393"/>
            <ac:spMk id="5" creationId="{77F92285-8B9F-2A8A-0D2C-F3DF5CB0C92A}"/>
          </ac:spMkLst>
        </pc:spChg>
        <pc:spChg chg="mod">
          <ac:chgData name="Hesse, Thomas Dr." userId="661ed4e0-7782-4a1c-9bc8-dd191b47db53" providerId="ADAL" clId="{C7B830A9-0123-4835-A836-7B72F5B1B7D9}" dt="2024-06-05T15:36:33.104" v="8449" actId="20577"/>
          <ac:spMkLst>
            <pc:docMk/>
            <pc:sldMk cId="1082143344" sldId="1393"/>
            <ac:spMk id="9" creationId="{1CF653FB-3CD7-42B7-B8D0-DC30DD14EE37}"/>
          </ac:spMkLst>
        </pc:spChg>
        <pc:spChg chg="del">
          <ac:chgData name="Hesse, Thomas Dr." userId="661ed4e0-7782-4a1c-9bc8-dd191b47db53" providerId="ADAL" clId="{C7B830A9-0123-4835-A836-7B72F5B1B7D9}" dt="2024-06-05T15:36:39.653" v="8450" actId="478"/>
          <ac:spMkLst>
            <pc:docMk/>
            <pc:sldMk cId="1082143344" sldId="1393"/>
            <ac:spMk id="10" creationId="{8ABA3F66-E73A-47A1-A36F-1F2561667F15}"/>
          </ac:spMkLst>
        </pc:spChg>
        <pc:spChg chg="mod replST delST">
          <ac:chgData name="Hesse, Thomas Dr." userId="661ed4e0-7782-4a1c-9bc8-dd191b47db53" providerId="ADAL" clId="{C7B830A9-0123-4835-A836-7B72F5B1B7D9}" dt="2024-06-05T15:36:04.200" v="8425"/>
          <ac:spMkLst>
            <pc:docMk/>
            <pc:sldMk cId="1082143344" sldId="1393"/>
            <ac:spMk id="22" creationId="{8796D8DF-8907-47C0-97BF-76FC91D0CD07}"/>
          </ac:spMkLst>
        </pc:spChg>
        <pc:spChg chg="replST delST">
          <ac:chgData name="Hesse, Thomas Dr." userId="661ed4e0-7782-4a1c-9bc8-dd191b47db53" providerId="ADAL" clId="{C7B830A9-0123-4835-A836-7B72F5B1B7D9}" dt="2024-06-05T15:36:10.400" v="8444"/>
          <ac:spMkLst>
            <pc:docMk/>
            <pc:sldMk cId="1082143344" sldId="1393"/>
            <ac:spMk id="23" creationId="{3C772711-A861-4054-A6F1-40CB61EFEE66}"/>
          </ac:spMkLst>
        </pc:spChg>
        <pc:picChg chg="add del mod">
          <ac:chgData name="Hesse, Thomas Dr." userId="661ed4e0-7782-4a1c-9bc8-dd191b47db53" providerId="ADAL" clId="{C7B830A9-0123-4835-A836-7B72F5B1B7D9}" dt="2024-06-05T15:35:46.184" v="8405" actId="1076"/>
          <ac:picMkLst>
            <pc:docMk/>
            <pc:sldMk cId="1082143344" sldId="1393"/>
            <ac:picMk id="14" creationId="{015EE65F-0A30-4A0F-B211-8DA280BD70F9}"/>
          </ac:picMkLst>
        </pc:picChg>
      </pc:sldChg>
      <pc:sldChg chg="modSp add mod ord modAnim">
        <pc:chgData name="Hesse, Thomas Dr." userId="661ed4e0-7782-4a1c-9bc8-dd191b47db53" providerId="ADAL" clId="{C7B830A9-0123-4835-A836-7B72F5B1B7D9}" dt="2024-06-05T16:31:59.172" v="11311"/>
        <pc:sldMkLst>
          <pc:docMk/>
          <pc:sldMk cId="4012311698" sldId="1394"/>
        </pc:sldMkLst>
        <pc:spChg chg="mod">
          <ac:chgData name="Hesse, Thomas Dr." userId="661ed4e0-7782-4a1c-9bc8-dd191b47db53" providerId="ADAL" clId="{C7B830A9-0123-4835-A836-7B72F5B1B7D9}" dt="2024-06-05T15:52:07.642" v="8980" actId="20577"/>
          <ac:spMkLst>
            <pc:docMk/>
            <pc:sldMk cId="4012311698" sldId="1394"/>
            <ac:spMk id="9" creationId="{1CF653FB-3CD7-42B7-B8D0-DC30DD14EE37}"/>
          </ac:spMkLst>
        </pc:spChg>
        <pc:spChg chg="replST delST">
          <ac:chgData name="Hesse, Thomas Dr." userId="661ed4e0-7782-4a1c-9bc8-dd191b47db53" providerId="ADAL" clId="{C7B830A9-0123-4835-A836-7B72F5B1B7D9}" dt="2024-06-05T16:17:36.869" v="9338"/>
          <ac:spMkLst>
            <pc:docMk/>
            <pc:sldMk cId="4012311698" sldId="1394"/>
            <ac:spMk id="16" creationId="{33603837-408E-4651-9AA1-879AEA00CB55}"/>
          </ac:spMkLst>
        </pc:spChg>
      </pc:sldChg>
      <pc:sldChg chg="modSp add mod ord modAnim">
        <pc:chgData name="Hesse, Thomas Dr." userId="661ed4e0-7782-4a1c-9bc8-dd191b47db53" providerId="ADAL" clId="{C7B830A9-0123-4835-A836-7B72F5B1B7D9}" dt="2024-06-05T16:31:59.172" v="11312"/>
        <pc:sldMkLst>
          <pc:docMk/>
          <pc:sldMk cId="422474740" sldId="1395"/>
        </pc:sldMkLst>
        <pc:spChg chg="mod">
          <ac:chgData name="Hesse, Thomas Dr." userId="661ed4e0-7782-4a1c-9bc8-dd191b47db53" providerId="ADAL" clId="{C7B830A9-0123-4835-A836-7B72F5B1B7D9}" dt="2024-06-05T15:51:59.602" v="8977" actId="20577"/>
          <ac:spMkLst>
            <pc:docMk/>
            <pc:sldMk cId="422474740" sldId="1395"/>
            <ac:spMk id="9" creationId="{1CF653FB-3CD7-42B7-B8D0-DC30DD14EE37}"/>
          </ac:spMkLst>
        </pc:spChg>
        <pc:spChg chg="replST delST">
          <ac:chgData name="Hesse, Thomas Dr." userId="661ed4e0-7782-4a1c-9bc8-dd191b47db53" providerId="ADAL" clId="{C7B830A9-0123-4835-A836-7B72F5B1B7D9}" dt="2024-06-05T16:17:54.193" v="9358"/>
          <ac:spMkLst>
            <pc:docMk/>
            <pc:sldMk cId="422474740" sldId="1395"/>
            <ac:spMk id="16" creationId="{33603837-408E-4651-9AA1-879AEA00CB55}"/>
          </ac:spMkLst>
        </pc:spChg>
      </pc:sldChg>
      <pc:sldChg chg="addSp delSp modSp add mod ord modAnim">
        <pc:chgData name="Hesse, Thomas Dr." userId="661ed4e0-7782-4a1c-9bc8-dd191b47db53" providerId="ADAL" clId="{C7B830A9-0123-4835-A836-7B72F5B1B7D9}" dt="2024-06-05T16:31:59.173" v="11313"/>
        <pc:sldMkLst>
          <pc:docMk/>
          <pc:sldMk cId="647771678" sldId="1396"/>
        </pc:sldMkLst>
        <pc:spChg chg="mod">
          <ac:chgData name="Hesse, Thomas Dr." userId="661ed4e0-7782-4a1c-9bc8-dd191b47db53" providerId="ADAL" clId="{C7B830A9-0123-4835-A836-7B72F5B1B7D9}" dt="2024-06-05T15:51:48.290" v="8973" actId="20577"/>
          <ac:spMkLst>
            <pc:docMk/>
            <pc:sldMk cId="647771678" sldId="1396"/>
            <ac:spMk id="9" creationId="{1CF653FB-3CD7-42B7-B8D0-DC30DD14EE37}"/>
          </ac:spMkLst>
        </pc:spChg>
        <pc:spChg chg="mod replST delST">
          <ac:chgData name="Hesse, Thomas Dr." userId="661ed4e0-7782-4a1c-9bc8-dd191b47db53" providerId="ADAL" clId="{C7B830A9-0123-4835-A836-7B72F5B1B7D9}" dt="2024-06-05T15:37:50.339" v="8478"/>
          <ac:spMkLst>
            <pc:docMk/>
            <pc:sldMk cId="647771678" sldId="1396"/>
            <ac:spMk id="16" creationId="{A4284C67-1CF0-438F-BA4C-1677E4B13496}"/>
          </ac:spMkLst>
        </pc:spChg>
        <pc:spChg chg="replST delST">
          <ac:chgData name="Hesse, Thomas Dr." userId="661ed4e0-7782-4a1c-9bc8-dd191b47db53" providerId="ADAL" clId="{C7B830A9-0123-4835-A836-7B72F5B1B7D9}" dt="2024-06-05T15:37:56.432" v="8497"/>
          <ac:spMkLst>
            <pc:docMk/>
            <pc:sldMk cId="647771678" sldId="1396"/>
            <ac:spMk id="17" creationId="{0BCF9D16-5850-471D-AA12-4192FBD18330}"/>
          </ac:spMkLst>
        </pc:spChg>
        <pc:picChg chg="add mod ord">
          <ac:chgData name="Hesse, Thomas Dr." userId="661ed4e0-7782-4a1c-9bc8-dd191b47db53" providerId="ADAL" clId="{C7B830A9-0123-4835-A836-7B72F5B1B7D9}" dt="2024-06-05T15:37:39.642" v="8456" actId="1076"/>
          <ac:picMkLst>
            <pc:docMk/>
            <pc:sldMk cId="647771678" sldId="1396"/>
            <ac:picMk id="5" creationId="{0470035A-AA30-C981-D155-7D37865665D7}"/>
          </ac:picMkLst>
        </pc:picChg>
        <pc:picChg chg="del">
          <ac:chgData name="Hesse, Thomas Dr." userId="661ed4e0-7782-4a1c-9bc8-dd191b47db53" providerId="ADAL" clId="{C7B830A9-0123-4835-A836-7B72F5B1B7D9}" dt="2024-06-05T15:37:20.030" v="8452" actId="478"/>
          <ac:picMkLst>
            <pc:docMk/>
            <pc:sldMk cId="647771678" sldId="1396"/>
            <ac:picMk id="14" creationId="{70829EC7-9441-4D5B-8613-792CD2004BA6}"/>
          </ac:picMkLst>
        </pc:picChg>
      </pc:sldChg>
      <pc:sldChg chg="modSp add mod ord modAnim">
        <pc:chgData name="Hesse, Thomas Dr." userId="661ed4e0-7782-4a1c-9bc8-dd191b47db53" providerId="ADAL" clId="{C7B830A9-0123-4835-A836-7B72F5B1B7D9}" dt="2024-06-05T16:31:59.173" v="11314"/>
        <pc:sldMkLst>
          <pc:docMk/>
          <pc:sldMk cId="3367125592" sldId="1397"/>
        </pc:sldMkLst>
        <pc:spChg chg="mod">
          <ac:chgData name="Hesse, Thomas Dr." userId="661ed4e0-7782-4a1c-9bc8-dd191b47db53" providerId="ADAL" clId="{C7B830A9-0123-4835-A836-7B72F5B1B7D9}" dt="2024-06-05T15:51:38.745" v="8970" actId="20577"/>
          <ac:spMkLst>
            <pc:docMk/>
            <pc:sldMk cId="3367125592" sldId="1397"/>
            <ac:spMk id="9" creationId="{1CF653FB-3CD7-42B7-B8D0-DC30DD14EE37}"/>
          </ac:spMkLst>
        </pc:spChg>
        <pc:spChg chg="replST delST">
          <ac:chgData name="Hesse, Thomas Dr." userId="661ed4e0-7782-4a1c-9bc8-dd191b47db53" providerId="ADAL" clId="{C7B830A9-0123-4835-A836-7B72F5B1B7D9}" dt="2024-06-05T15:38:15.217" v="8517"/>
          <ac:spMkLst>
            <pc:docMk/>
            <pc:sldMk cId="3367125592" sldId="1397"/>
            <ac:spMk id="16" creationId="{33603837-408E-4651-9AA1-879AEA00CB55}"/>
          </ac:spMkLst>
        </pc:spChg>
      </pc:sldChg>
      <pc:sldChg chg="modSp add mod ord">
        <pc:chgData name="Hesse, Thomas Dr." userId="661ed4e0-7782-4a1c-9bc8-dd191b47db53" providerId="ADAL" clId="{C7B830A9-0123-4835-A836-7B72F5B1B7D9}" dt="2024-06-05T16:31:59.174" v="11315"/>
        <pc:sldMkLst>
          <pc:docMk/>
          <pc:sldMk cId="2921132767" sldId="1398"/>
        </pc:sldMkLst>
        <pc:spChg chg="mod">
          <ac:chgData name="Hesse, Thomas Dr." userId="661ed4e0-7782-4a1c-9bc8-dd191b47db53" providerId="ADAL" clId="{C7B830A9-0123-4835-A836-7B72F5B1B7D9}" dt="2024-06-05T15:51:31.609" v="8966" actId="20577"/>
          <ac:spMkLst>
            <pc:docMk/>
            <pc:sldMk cId="2921132767" sldId="1398"/>
            <ac:spMk id="9" creationId="{1CF653FB-3CD7-42B7-B8D0-DC30DD14EE37}"/>
          </ac:spMkLst>
        </pc:spChg>
      </pc:sldChg>
      <pc:sldChg chg="modSp add mod ord">
        <pc:chgData name="Hesse, Thomas Dr." userId="661ed4e0-7782-4a1c-9bc8-dd191b47db53" providerId="ADAL" clId="{C7B830A9-0123-4835-A836-7B72F5B1B7D9}" dt="2024-06-05T16:31:59.174" v="11316"/>
        <pc:sldMkLst>
          <pc:docMk/>
          <pc:sldMk cId="3590912364" sldId="1399"/>
        </pc:sldMkLst>
        <pc:spChg chg="mod">
          <ac:chgData name="Hesse, Thomas Dr." userId="661ed4e0-7782-4a1c-9bc8-dd191b47db53" providerId="ADAL" clId="{C7B830A9-0123-4835-A836-7B72F5B1B7D9}" dt="2024-06-05T15:51:26.355" v="8963" actId="20577"/>
          <ac:spMkLst>
            <pc:docMk/>
            <pc:sldMk cId="3590912364" sldId="1399"/>
            <ac:spMk id="9" creationId="{1CF653FB-3CD7-42B7-B8D0-DC30DD14EE37}"/>
          </ac:spMkLst>
        </pc:spChg>
      </pc:sldChg>
      <pc:sldChg chg="modSp add mod ord">
        <pc:chgData name="Hesse, Thomas Dr." userId="661ed4e0-7782-4a1c-9bc8-dd191b47db53" providerId="ADAL" clId="{C7B830A9-0123-4835-A836-7B72F5B1B7D9}" dt="2024-06-05T16:31:59.175" v="11317"/>
        <pc:sldMkLst>
          <pc:docMk/>
          <pc:sldMk cId="3876691016" sldId="1400"/>
        </pc:sldMkLst>
        <pc:spChg chg="mod">
          <ac:chgData name="Hesse, Thomas Dr." userId="661ed4e0-7782-4a1c-9bc8-dd191b47db53" providerId="ADAL" clId="{C7B830A9-0123-4835-A836-7B72F5B1B7D9}" dt="2024-06-05T15:51:19.130" v="8960" actId="20577"/>
          <ac:spMkLst>
            <pc:docMk/>
            <pc:sldMk cId="3876691016" sldId="1400"/>
            <ac:spMk id="9" creationId="{1CF653FB-3CD7-42B7-B8D0-DC30DD14EE37}"/>
          </ac:spMkLst>
        </pc:spChg>
      </pc:sldChg>
      <pc:sldChg chg="modSp add mod ord modAnim">
        <pc:chgData name="Hesse, Thomas Dr." userId="661ed4e0-7782-4a1c-9bc8-dd191b47db53" providerId="ADAL" clId="{C7B830A9-0123-4835-A836-7B72F5B1B7D9}" dt="2024-06-05T16:31:59.176" v="11318"/>
        <pc:sldMkLst>
          <pc:docMk/>
          <pc:sldMk cId="3954861834" sldId="1401"/>
        </pc:sldMkLst>
        <pc:spChg chg="mod">
          <ac:chgData name="Hesse, Thomas Dr." userId="661ed4e0-7782-4a1c-9bc8-dd191b47db53" providerId="ADAL" clId="{C7B830A9-0123-4835-A836-7B72F5B1B7D9}" dt="2024-06-05T15:51:10.873" v="8955" actId="20577"/>
          <ac:spMkLst>
            <pc:docMk/>
            <pc:sldMk cId="3954861834" sldId="1401"/>
            <ac:spMk id="9" creationId="{1CF653FB-3CD7-42B7-B8D0-DC30DD14EE37}"/>
          </ac:spMkLst>
        </pc:spChg>
      </pc:sldChg>
      <pc:sldChg chg="modSp add mod ord modAnim">
        <pc:chgData name="Hesse, Thomas Dr." userId="661ed4e0-7782-4a1c-9bc8-dd191b47db53" providerId="ADAL" clId="{C7B830A9-0123-4835-A836-7B72F5B1B7D9}" dt="2024-06-05T16:55:44.862" v="11718" actId="1036"/>
        <pc:sldMkLst>
          <pc:docMk/>
          <pc:sldMk cId="2035264578" sldId="1402"/>
        </pc:sldMkLst>
        <pc:spChg chg="mod replST delST">
          <ac:chgData name="Hesse, Thomas Dr." userId="661ed4e0-7782-4a1c-9bc8-dd191b47db53" providerId="ADAL" clId="{C7B830A9-0123-4835-A836-7B72F5B1B7D9}" dt="2024-06-05T16:55:34.143" v="11687" actId="1035"/>
          <ac:spMkLst>
            <pc:docMk/>
            <pc:sldMk cId="2035264578" sldId="1402"/>
            <ac:spMk id="6" creationId="{7C7C805B-1132-6139-6208-7966192AB748}"/>
          </ac:spMkLst>
        </pc:spChg>
        <pc:spChg chg="mod replST delST">
          <ac:chgData name="Hesse, Thomas Dr." userId="661ed4e0-7782-4a1c-9bc8-dd191b47db53" providerId="ADAL" clId="{C7B830A9-0123-4835-A836-7B72F5B1B7D9}" dt="2024-06-05T16:55:44.862" v="11718" actId="1036"/>
          <ac:spMkLst>
            <pc:docMk/>
            <pc:sldMk cId="2035264578" sldId="1402"/>
            <ac:spMk id="8" creationId="{DC45F0CC-CD65-1CFA-2CF2-7F45A65C62E8}"/>
          </ac:spMkLst>
        </pc:spChg>
        <pc:spChg chg="mod">
          <ac:chgData name="Hesse, Thomas Dr." userId="661ed4e0-7782-4a1c-9bc8-dd191b47db53" providerId="ADAL" clId="{C7B830A9-0123-4835-A836-7B72F5B1B7D9}" dt="2024-06-05T16:15:04.151" v="9312" actId="20577"/>
          <ac:spMkLst>
            <pc:docMk/>
            <pc:sldMk cId="2035264578" sldId="1402"/>
            <ac:spMk id="9" creationId="{1CF653FB-3CD7-42B7-B8D0-DC30DD14EE37}"/>
          </ac:spMkLst>
        </pc:spChg>
        <pc:spChg chg="mod replST delST">
          <ac:chgData name="Hesse, Thomas Dr." userId="661ed4e0-7782-4a1c-9bc8-dd191b47db53" providerId="ADAL" clId="{C7B830A9-0123-4835-A836-7B72F5B1B7D9}" dt="2024-06-05T16:55:39.815" v="11693" actId="1035"/>
          <ac:spMkLst>
            <pc:docMk/>
            <pc:sldMk cId="2035264578" sldId="1402"/>
            <ac:spMk id="10" creationId="{4143F86F-671C-21A9-F6E9-6066F9B91F27}"/>
          </ac:spMkLst>
        </pc:spChg>
        <pc:spChg chg="mod replST delST">
          <ac:chgData name="Hesse, Thomas Dr." userId="661ed4e0-7782-4a1c-9bc8-dd191b47db53" providerId="ADAL" clId="{C7B830A9-0123-4835-A836-7B72F5B1B7D9}" dt="2024-06-05T16:55:34.143" v="11687" actId="1035"/>
          <ac:spMkLst>
            <pc:docMk/>
            <pc:sldMk cId="2035264578" sldId="1402"/>
            <ac:spMk id="11" creationId="{5241521C-460D-8DB5-F80F-71F696AC81B4}"/>
          </ac:spMkLst>
        </pc:spChg>
        <pc:spChg chg="mod replST delST">
          <ac:chgData name="Hesse, Thomas Dr." userId="661ed4e0-7782-4a1c-9bc8-dd191b47db53" providerId="ADAL" clId="{C7B830A9-0123-4835-A836-7B72F5B1B7D9}" dt="2024-06-05T16:55:39.815" v="11693" actId="1035"/>
          <ac:spMkLst>
            <pc:docMk/>
            <pc:sldMk cId="2035264578" sldId="1402"/>
            <ac:spMk id="12" creationId="{F31DF4EC-F6A7-7FB6-1AD5-A7773D8C0383}"/>
          </ac:spMkLst>
        </pc:spChg>
        <pc:spChg chg="mod replST delST">
          <ac:chgData name="Hesse, Thomas Dr." userId="661ed4e0-7782-4a1c-9bc8-dd191b47db53" providerId="ADAL" clId="{C7B830A9-0123-4835-A836-7B72F5B1B7D9}" dt="2024-06-05T16:55:44.862" v="11718" actId="1036"/>
          <ac:spMkLst>
            <pc:docMk/>
            <pc:sldMk cId="2035264578" sldId="1402"/>
            <ac:spMk id="15" creationId="{46E7F9D7-B283-2473-70A8-91C3643CA3B6}"/>
          </ac:spMkLst>
        </pc:spChg>
        <pc:picChg chg="mod">
          <ac:chgData name="Hesse, Thomas Dr." userId="661ed4e0-7782-4a1c-9bc8-dd191b47db53" providerId="ADAL" clId="{C7B830A9-0123-4835-A836-7B72F5B1B7D9}" dt="2024-06-05T16:55:15.551" v="11648" actId="1076"/>
          <ac:picMkLst>
            <pc:docMk/>
            <pc:sldMk cId="2035264578" sldId="1402"/>
            <ac:picMk id="5" creationId="{29C728B9-BD03-B611-BDBC-EB2D87735CCA}"/>
          </ac:picMkLst>
        </pc:picChg>
      </pc:sldChg>
      <pc:sldChg chg="addSp delSp modSp add mod ord modAnim">
        <pc:chgData name="Hesse, Thomas Dr." userId="661ed4e0-7782-4a1c-9bc8-dd191b47db53" providerId="ADAL" clId="{C7B830A9-0123-4835-A836-7B72F5B1B7D9}" dt="2024-06-06T06:28:39.802" v="11789"/>
        <pc:sldMkLst>
          <pc:docMk/>
          <pc:sldMk cId="1792836452" sldId="1403"/>
        </pc:sldMkLst>
        <pc:spChg chg="del replST delST">
          <ac:chgData name="Hesse, Thomas Dr." userId="661ed4e0-7782-4a1c-9bc8-dd191b47db53" providerId="ADAL" clId="{C7B830A9-0123-4835-A836-7B72F5B1B7D9}" dt="2024-06-05T15:41:07.868" v="8665" actId="478"/>
          <ac:spMkLst>
            <pc:docMk/>
            <pc:sldMk cId="1792836452" sldId="1403"/>
            <ac:spMk id="6" creationId="{7C7C805B-1132-6139-6208-7966192AB748}"/>
          </ac:spMkLst>
        </pc:spChg>
        <pc:spChg chg="del replST delST">
          <ac:chgData name="Hesse, Thomas Dr." userId="661ed4e0-7782-4a1c-9bc8-dd191b47db53" providerId="ADAL" clId="{C7B830A9-0123-4835-A836-7B72F5B1B7D9}" dt="2024-06-05T15:41:07.868" v="8665" actId="478"/>
          <ac:spMkLst>
            <pc:docMk/>
            <pc:sldMk cId="1792836452" sldId="1403"/>
            <ac:spMk id="8" creationId="{DC45F0CC-CD65-1CFA-2CF2-7F45A65C62E8}"/>
          </ac:spMkLst>
        </pc:spChg>
        <pc:spChg chg="mod">
          <ac:chgData name="Hesse, Thomas Dr." userId="661ed4e0-7782-4a1c-9bc8-dd191b47db53" providerId="ADAL" clId="{C7B830A9-0123-4835-A836-7B72F5B1B7D9}" dt="2024-06-05T15:48:39.097" v="8735" actId="20577"/>
          <ac:spMkLst>
            <pc:docMk/>
            <pc:sldMk cId="1792836452" sldId="1403"/>
            <ac:spMk id="9" creationId="{1CF653FB-3CD7-42B7-B8D0-DC30DD14EE37}"/>
          </ac:spMkLst>
        </pc:spChg>
        <pc:spChg chg="del replST delST">
          <ac:chgData name="Hesse, Thomas Dr." userId="661ed4e0-7782-4a1c-9bc8-dd191b47db53" providerId="ADAL" clId="{C7B830A9-0123-4835-A836-7B72F5B1B7D9}" dt="2024-06-05T15:41:07.868" v="8665" actId="478"/>
          <ac:spMkLst>
            <pc:docMk/>
            <pc:sldMk cId="1792836452" sldId="1403"/>
            <ac:spMk id="10" creationId="{4143F86F-671C-21A9-F6E9-6066F9B91F27}"/>
          </ac:spMkLst>
        </pc:spChg>
        <pc:spChg chg="del replST delST">
          <ac:chgData name="Hesse, Thomas Dr." userId="661ed4e0-7782-4a1c-9bc8-dd191b47db53" providerId="ADAL" clId="{C7B830A9-0123-4835-A836-7B72F5B1B7D9}" dt="2024-06-05T15:41:07.868" v="8665" actId="478"/>
          <ac:spMkLst>
            <pc:docMk/>
            <pc:sldMk cId="1792836452" sldId="1403"/>
            <ac:spMk id="11" creationId="{5241521C-460D-8DB5-F80F-71F696AC81B4}"/>
          </ac:spMkLst>
        </pc:spChg>
        <pc:spChg chg="del replST delST">
          <ac:chgData name="Hesse, Thomas Dr." userId="661ed4e0-7782-4a1c-9bc8-dd191b47db53" providerId="ADAL" clId="{C7B830A9-0123-4835-A836-7B72F5B1B7D9}" dt="2024-06-05T15:41:07.868" v="8665" actId="478"/>
          <ac:spMkLst>
            <pc:docMk/>
            <pc:sldMk cId="1792836452" sldId="1403"/>
            <ac:spMk id="12" creationId="{F31DF4EC-F6A7-7FB6-1AD5-A7773D8C0383}"/>
          </ac:spMkLst>
        </pc:spChg>
        <pc:spChg chg="mod">
          <ac:chgData name="Hesse, Thomas Dr." userId="661ed4e0-7782-4a1c-9bc8-dd191b47db53" providerId="ADAL" clId="{C7B830A9-0123-4835-A836-7B72F5B1B7D9}" dt="2024-06-05T15:46:40.790" v="8695" actId="20577"/>
          <ac:spMkLst>
            <pc:docMk/>
            <pc:sldMk cId="1792836452" sldId="1403"/>
            <ac:spMk id="13" creationId="{643A904A-002F-4BAC-B8AF-0995B9239451}"/>
          </ac:spMkLst>
        </pc:spChg>
        <pc:spChg chg="del replST delST">
          <ac:chgData name="Hesse, Thomas Dr." userId="661ed4e0-7782-4a1c-9bc8-dd191b47db53" providerId="ADAL" clId="{C7B830A9-0123-4835-A836-7B72F5B1B7D9}" dt="2024-06-05T15:41:07.868" v="8665" actId="478"/>
          <ac:spMkLst>
            <pc:docMk/>
            <pc:sldMk cId="1792836452" sldId="1403"/>
            <ac:spMk id="15" creationId="{46E7F9D7-B283-2473-70A8-91C3643CA3B6}"/>
          </ac:spMkLst>
        </pc:spChg>
        <pc:spChg chg="add mod replST">
          <ac:chgData name="Hesse, Thomas Dr." userId="661ed4e0-7782-4a1c-9bc8-dd191b47db53" providerId="ADAL" clId="{C7B830A9-0123-4835-A836-7B72F5B1B7D9}" dt="2024-06-05T15:49:09.193" v="8738" actId="1076"/>
          <ac:spMkLst>
            <pc:docMk/>
            <pc:sldMk cId="1792836452" sldId="1403"/>
            <ac:spMk id="17" creationId="{C7A03EF4-BC06-4D87-6447-9A89F350729F}"/>
          </ac:spMkLst>
        </pc:spChg>
        <pc:spChg chg="add mod replST">
          <ac:chgData name="Hesse, Thomas Dr." userId="661ed4e0-7782-4a1c-9bc8-dd191b47db53" providerId="ADAL" clId="{C7B830A9-0123-4835-A836-7B72F5B1B7D9}" dt="2024-06-05T15:49:09.193" v="8738" actId="1076"/>
          <ac:spMkLst>
            <pc:docMk/>
            <pc:sldMk cId="1792836452" sldId="1403"/>
            <ac:spMk id="18" creationId="{002063B5-F779-A447-C188-596974296A44}"/>
          </ac:spMkLst>
        </pc:spChg>
        <pc:spChg chg="add mod replST delST">
          <ac:chgData name="Hesse, Thomas Dr." userId="661ed4e0-7782-4a1c-9bc8-dd191b47db53" providerId="ADAL" clId="{C7B830A9-0123-4835-A836-7B72F5B1B7D9}" dt="2024-06-06T06:28:39.653" v="11771"/>
          <ac:spMkLst>
            <pc:docMk/>
            <pc:sldMk cId="1792836452" sldId="1403"/>
            <ac:spMk id="27" creationId="{BCE3097A-0837-7BCF-2AE1-6AF903EEDEF6}"/>
          </ac:spMkLst>
        </pc:spChg>
        <pc:spChg chg="add mod replST delST">
          <ac:chgData name="Hesse, Thomas Dr." userId="661ed4e0-7782-4a1c-9bc8-dd191b47db53" providerId="ADAL" clId="{C7B830A9-0123-4835-A836-7B72F5B1B7D9}" dt="2024-06-06T06:28:39.802" v="11789"/>
          <ac:spMkLst>
            <pc:docMk/>
            <pc:sldMk cId="1792836452" sldId="1403"/>
            <ac:spMk id="28" creationId="{FCFE9AFD-1F2E-D28E-EB46-A434E61BFC72}"/>
          </ac:spMkLst>
        </pc:spChg>
        <pc:picChg chg="del">
          <ac:chgData name="Hesse, Thomas Dr." userId="661ed4e0-7782-4a1c-9bc8-dd191b47db53" providerId="ADAL" clId="{C7B830A9-0123-4835-A836-7B72F5B1B7D9}" dt="2024-06-05T15:41:15.691" v="8666" actId="478"/>
          <ac:picMkLst>
            <pc:docMk/>
            <pc:sldMk cId="1792836452" sldId="1403"/>
            <ac:picMk id="5" creationId="{29C728B9-BD03-B611-BDBC-EB2D87735CCA}"/>
          </ac:picMkLst>
        </pc:picChg>
        <pc:picChg chg="add mod">
          <ac:chgData name="Hesse, Thomas Dr." userId="661ed4e0-7782-4a1c-9bc8-dd191b47db53" providerId="ADAL" clId="{C7B830A9-0123-4835-A836-7B72F5B1B7D9}" dt="2024-06-05T15:45:36.694" v="8677" actId="1076"/>
          <ac:picMkLst>
            <pc:docMk/>
            <pc:sldMk cId="1792836452" sldId="1403"/>
            <ac:picMk id="7" creationId="{4F32D920-47EF-DD8F-1DC4-B3BEEC9B9DC9}"/>
          </ac:picMkLst>
        </pc:picChg>
        <pc:picChg chg="add mod">
          <ac:chgData name="Hesse, Thomas Dr." userId="661ed4e0-7782-4a1c-9bc8-dd191b47db53" providerId="ADAL" clId="{C7B830A9-0123-4835-A836-7B72F5B1B7D9}" dt="2024-06-05T15:49:09.193" v="8738" actId="1076"/>
          <ac:picMkLst>
            <pc:docMk/>
            <pc:sldMk cId="1792836452" sldId="1403"/>
            <ac:picMk id="16" creationId="{402BF46A-3E39-9317-9A9B-319E7F8BD921}"/>
          </ac:picMkLst>
        </pc:picChg>
        <pc:cxnChg chg="add mod">
          <ac:chgData name="Hesse, Thomas Dr." userId="661ed4e0-7782-4a1c-9bc8-dd191b47db53" providerId="ADAL" clId="{C7B830A9-0123-4835-A836-7B72F5B1B7D9}" dt="2024-06-05T15:49:17.536" v="8740" actId="14100"/>
          <ac:cxnSpMkLst>
            <pc:docMk/>
            <pc:sldMk cId="1792836452" sldId="1403"/>
            <ac:cxnSpMk id="20" creationId="{E7B013D3-91B5-1FC7-6614-723FF03B282B}"/>
          </ac:cxnSpMkLst>
        </pc:cxnChg>
        <pc:cxnChg chg="add mod">
          <ac:chgData name="Hesse, Thomas Dr." userId="661ed4e0-7782-4a1c-9bc8-dd191b47db53" providerId="ADAL" clId="{C7B830A9-0123-4835-A836-7B72F5B1B7D9}" dt="2024-06-05T15:49:15.104" v="8739" actId="14100"/>
          <ac:cxnSpMkLst>
            <pc:docMk/>
            <pc:sldMk cId="1792836452" sldId="1403"/>
            <ac:cxnSpMk id="22" creationId="{06A705AE-98C8-8694-C7A2-71DD1AECEE57}"/>
          </ac:cxnSpMkLst>
        </pc:cxnChg>
      </pc:sldChg>
      <pc:sldChg chg="add del">
        <pc:chgData name="Hesse, Thomas Dr." userId="661ed4e0-7782-4a1c-9bc8-dd191b47db53" providerId="ADAL" clId="{C7B830A9-0123-4835-A836-7B72F5B1B7D9}" dt="2024-06-05T15:50:25.422" v="8821" actId="47"/>
        <pc:sldMkLst>
          <pc:docMk/>
          <pc:sldMk cId="1617817517" sldId="1404"/>
        </pc:sldMkLst>
      </pc:sldChg>
      <pc:sldChg chg="addSp modSp add mod ord">
        <pc:chgData name="Hesse, Thomas Dr." userId="661ed4e0-7782-4a1c-9bc8-dd191b47db53" providerId="ADAL" clId="{C7B830A9-0123-4835-A836-7B72F5B1B7D9}" dt="2024-06-06T06:26:23.691" v="11723" actId="20577"/>
        <pc:sldMkLst>
          <pc:docMk/>
          <pc:sldMk cId="3525276890" sldId="1404"/>
        </pc:sldMkLst>
        <pc:spChg chg="add mod replST">
          <ac:chgData name="Hesse, Thomas Dr." userId="661ed4e0-7782-4a1c-9bc8-dd191b47db53" providerId="ADAL" clId="{C7B830A9-0123-4835-A836-7B72F5B1B7D9}" dt="2024-06-05T16:31:57.957" v="9866"/>
          <ac:spMkLst>
            <pc:docMk/>
            <pc:sldMk cId="3525276890" sldId="1404"/>
            <ac:spMk id="2" creationId="{B61CB580-DF8B-48AF-BCE7-BFEC15B6A502}"/>
          </ac:spMkLst>
        </pc:spChg>
        <pc:spChg chg="add mod replST">
          <ac:chgData name="Hesse, Thomas Dr." userId="661ed4e0-7782-4a1c-9bc8-dd191b47db53" providerId="ADAL" clId="{C7B830A9-0123-4835-A836-7B72F5B1B7D9}" dt="2024-06-05T16:31:57.957" v="9866"/>
          <ac:spMkLst>
            <pc:docMk/>
            <pc:sldMk cId="3525276890" sldId="1404"/>
            <ac:spMk id="4" creationId="{1E6469EE-1B98-4322-AEB5-C9BF1E8A474D}"/>
          </ac:spMkLst>
        </pc:spChg>
        <pc:spChg chg="mod ord replST">
          <ac:chgData name="Hesse, Thomas Dr." userId="661ed4e0-7782-4a1c-9bc8-dd191b47db53" providerId="ADAL" clId="{C7B830A9-0123-4835-A836-7B72F5B1B7D9}" dt="2024-06-05T16:31:57.961" v="9883"/>
          <ac:spMkLst>
            <pc:docMk/>
            <pc:sldMk cId="3525276890" sldId="1404"/>
            <ac:spMk id="5" creationId="{DF59139C-523E-7153-7B45-40433BF55885}"/>
          </ac:spMkLst>
        </pc:spChg>
        <pc:spChg chg="add mod replST">
          <ac:chgData name="Hesse, Thomas Dr." userId="661ed4e0-7782-4a1c-9bc8-dd191b47db53" providerId="ADAL" clId="{C7B830A9-0123-4835-A836-7B72F5B1B7D9}" dt="2024-06-06T06:26:23.688" v="11720" actId="20577"/>
          <ac:spMkLst>
            <pc:docMk/>
            <pc:sldMk cId="3525276890" sldId="1404"/>
            <ac:spMk id="6" creationId="{188A44A1-90B2-4719-B50D-B1923DD2398F}"/>
          </ac:spMkLst>
        </pc:spChg>
        <pc:spChg chg="add mod replST">
          <ac:chgData name="Hesse, Thomas Dr." userId="661ed4e0-7782-4a1c-9bc8-dd191b47db53" providerId="ADAL" clId="{C7B830A9-0123-4835-A836-7B72F5B1B7D9}" dt="2024-06-05T16:31:57.957" v="9866"/>
          <ac:spMkLst>
            <pc:docMk/>
            <pc:sldMk cId="3525276890" sldId="1404"/>
            <ac:spMk id="10" creationId="{B61CB580-DF8B-48AF-BCE7-BFEC15B6A502}"/>
          </ac:spMkLst>
        </pc:spChg>
        <pc:spChg chg="add mod replST">
          <ac:chgData name="Hesse, Thomas Dr." userId="661ed4e0-7782-4a1c-9bc8-dd191b47db53" providerId="ADAL" clId="{C7B830A9-0123-4835-A836-7B72F5B1B7D9}" dt="2024-06-05T16:31:57.957" v="9866"/>
          <ac:spMkLst>
            <pc:docMk/>
            <pc:sldMk cId="3525276890" sldId="1404"/>
            <ac:spMk id="11" creationId="{1E6469EE-1B98-4322-AEB5-C9BF1E8A474D}"/>
          </ac:spMkLst>
        </pc:spChg>
        <pc:spChg chg="add mod replST">
          <ac:chgData name="Hesse, Thomas Dr." userId="661ed4e0-7782-4a1c-9bc8-dd191b47db53" providerId="ADAL" clId="{C7B830A9-0123-4835-A836-7B72F5B1B7D9}" dt="2024-06-06T06:26:23.689" v="11721" actId="20577"/>
          <ac:spMkLst>
            <pc:docMk/>
            <pc:sldMk cId="3525276890" sldId="1404"/>
            <ac:spMk id="12" creationId="{188A44A1-90B2-4719-B50D-B1923DD2398F}"/>
          </ac:spMkLst>
        </pc:spChg>
        <pc:spChg chg="add mod replST">
          <ac:chgData name="Hesse, Thomas Dr." userId="661ed4e0-7782-4a1c-9bc8-dd191b47db53" providerId="ADAL" clId="{C7B830A9-0123-4835-A836-7B72F5B1B7D9}" dt="2024-06-05T16:31:57.957" v="9866"/>
          <ac:spMkLst>
            <pc:docMk/>
            <pc:sldMk cId="3525276890" sldId="1404"/>
            <ac:spMk id="16" creationId="{B61CB580-DF8B-48AF-BCE7-BFEC15B6A502}"/>
          </ac:spMkLst>
        </pc:spChg>
        <pc:spChg chg="add mod replST">
          <ac:chgData name="Hesse, Thomas Dr." userId="661ed4e0-7782-4a1c-9bc8-dd191b47db53" providerId="ADAL" clId="{C7B830A9-0123-4835-A836-7B72F5B1B7D9}" dt="2024-06-05T16:31:57.957" v="9866"/>
          <ac:spMkLst>
            <pc:docMk/>
            <pc:sldMk cId="3525276890" sldId="1404"/>
            <ac:spMk id="17" creationId="{1E6469EE-1B98-4322-AEB5-C9BF1E8A474D}"/>
          </ac:spMkLst>
        </pc:spChg>
        <pc:spChg chg="add mod replST">
          <ac:chgData name="Hesse, Thomas Dr." userId="661ed4e0-7782-4a1c-9bc8-dd191b47db53" providerId="ADAL" clId="{C7B830A9-0123-4835-A836-7B72F5B1B7D9}" dt="2024-06-06T06:26:23.690" v="11722" actId="20577"/>
          <ac:spMkLst>
            <pc:docMk/>
            <pc:sldMk cId="3525276890" sldId="1404"/>
            <ac:spMk id="18" creationId="{188A44A1-90B2-4719-B50D-B1923DD2398F}"/>
          </ac:spMkLst>
        </pc:spChg>
        <pc:spChg chg="add mod replST">
          <ac:chgData name="Hesse, Thomas Dr." userId="661ed4e0-7782-4a1c-9bc8-dd191b47db53" providerId="ADAL" clId="{C7B830A9-0123-4835-A836-7B72F5B1B7D9}" dt="2024-06-05T16:31:57.957" v="9866"/>
          <ac:spMkLst>
            <pc:docMk/>
            <pc:sldMk cId="3525276890" sldId="1404"/>
            <ac:spMk id="22" creationId="{B61CB580-DF8B-48AF-BCE7-BFEC15B6A502}"/>
          </ac:spMkLst>
        </pc:spChg>
        <pc:spChg chg="add mod replST">
          <ac:chgData name="Hesse, Thomas Dr." userId="661ed4e0-7782-4a1c-9bc8-dd191b47db53" providerId="ADAL" clId="{C7B830A9-0123-4835-A836-7B72F5B1B7D9}" dt="2024-06-05T16:31:57.957" v="9866"/>
          <ac:spMkLst>
            <pc:docMk/>
            <pc:sldMk cId="3525276890" sldId="1404"/>
            <ac:spMk id="24" creationId="{1E6469EE-1B98-4322-AEB5-C9BF1E8A474D}"/>
          </ac:spMkLst>
        </pc:spChg>
        <pc:spChg chg="add mod replST">
          <ac:chgData name="Hesse, Thomas Dr." userId="661ed4e0-7782-4a1c-9bc8-dd191b47db53" providerId="ADAL" clId="{C7B830A9-0123-4835-A836-7B72F5B1B7D9}" dt="2024-06-06T06:26:23.691" v="11723" actId="20577"/>
          <ac:spMkLst>
            <pc:docMk/>
            <pc:sldMk cId="3525276890" sldId="1404"/>
            <ac:spMk id="25" creationId="{188A44A1-90B2-4719-B50D-B1923DD2398F}"/>
          </ac:spMkLst>
        </pc:spChg>
        <pc:grpChg chg="add mod ord replST">
          <ac:chgData name="Hesse, Thomas Dr." userId="661ed4e0-7782-4a1c-9bc8-dd191b47db53" providerId="ADAL" clId="{C7B830A9-0123-4835-A836-7B72F5B1B7D9}" dt="2024-06-05T16:31:57.957" v="9866"/>
          <ac:grpSpMkLst>
            <pc:docMk/>
            <pc:sldMk cId="3525276890" sldId="1404"/>
            <ac:grpSpMk id="7" creationId="{F6C87C0E-1651-4964-8214-4B8A6FB75CB9}"/>
          </ac:grpSpMkLst>
        </pc:grpChg>
        <pc:grpChg chg="add mod ord replST">
          <ac:chgData name="Hesse, Thomas Dr." userId="661ed4e0-7782-4a1c-9bc8-dd191b47db53" providerId="ADAL" clId="{C7B830A9-0123-4835-A836-7B72F5B1B7D9}" dt="2024-06-05T16:31:57.957" v="9866"/>
          <ac:grpSpMkLst>
            <pc:docMk/>
            <pc:sldMk cId="3525276890" sldId="1404"/>
            <ac:grpSpMk id="13" creationId="{F6C87C0E-1651-4964-8214-4B8A6FB75CB9}"/>
          </ac:grpSpMkLst>
        </pc:grpChg>
        <pc:grpChg chg="add mod ord replST">
          <ac:chgData name="Hesse, Thomas Dr." userId="661ed4e0-7782-4a1c-9bc8-dd191b47db53" providerId="ADAL" clId="{C7B830A9-0123-4835-A836-7B72F5B1B7D9}" dt="2024-06-05T16:31:57.957" v="9866"/>
          <ac:grpSpMkLst>
            <pc:docMk/>
            <pc:sldMk cId="3525276890" sldId="1404"/>
            <ac:grpSpMk id="19" creationId="{F6C87C0E-1651-4964-8214-4B8A6FB75CB9}"/>
          </ac:grpSpMkLst>
        </pc:grpChg>
        <pc:grpChg chg="add mod ord replST">
          <ac:chgData name="Hesse, Thomas Dr." userId="661ed4e0-7782-4a1c-9bc8-dd191b47db53" providerId="ADAL" clId="{C7B830A9-0123-4835-A836-7B72F5B1B7D9}" dt="2024-06-05T16:31:57.957" v="9866"/>
          <ac:grpSpMkLst>
            <pc:docMk/>
            <pc:sldMk cId="3525276890" sldId="1404"/>
            <ac:grpSpMk id="26" creationId="{F6C87C0E-1651-4964-8214-4B8A6FB75CB9}"/>
          </ac:grpSpMkLst>
        </pc:grpChg>
        <pc:grpChg chg="add mod replST">
          <ac:chgData name="Hesse, Thomas Dr." userId="661ed4e0-7782-4a1c-9bc8-dd191b47db53" providerId="ADAL" clId="{C7B830A9-0123-4835-A836-7B72F5B1B7D9}" dt="2024-06-05T16:31:57.961" v="9881"/>
          <ac:grpSpMkLst>
            <pc:docMk/>
            <pc:sldMk cId="3525276890" sldId="1404"/>
            <ac:grpSpMk id="30" creationId="{B0A90E6F-1B3D-0B8E-BF75-6D4C7DE3E04C}"/>
          </ac:grpSpMkLst>
        </pc:grpChg>
        <pc:cxnChg chg="add mod">
          <ac:chgData name="Hesse, Thomas Dr." userId="661ed4e0-7782-4a1c-9bc8-dd191b47db53" providerId="ADAL" clId="{C7B830A9-0123-4835-A836-7B72F5B1B7D9}" dt="2024-06-05T16:31:57.742" v="9617"/>
          <ac:cxnSpMkLst>
            <pc:docMk/>
            <pc:sldMk cId="3525276890" sldId="1404"/>
            <ac:cxnSpMk id="8" creationId="{D17F1784-2691-4FE4-AF82-B768FFFD942A}"/>
          </ac:cxnSpMkLst>
        </pc:cxnChg>
        <pc:cxnChg chg="add mod">
          <ac:chgData name="Hesse, Thomas Dr." userId="661ed4e0-7782-4a1c-9bc8-dd191b47db53" providerId="ADAL" clId="{C7B830A9-0123-4835-A836-7B72F5B1B7D9}" dt="2024-06-05T16:31:57.742" v="9617"/>
          <ac:cxnSpMkLst>
            <pc:docMk/>
            <pc:sldMk cId="3525276890" sldId="1404"/>
            <ac:cxnSpMk id="9" creationId="{8A05B422-1F71-4726-B6E5-7BAA31B63A84}"/>
          </ac:cxnSpMkLst>
        </pc:cxnChg>
        <pc:cxnChg chg="add mod">
          <ac:chgData name="Hesse, Thomas Dr." userId="661ed4e0-7782-4a1c-9bc8-dd191b47db53" providerId="ADAL" clId="{C7B830A9-0123-4835-A836-7B72F5B1B7D9}" dt="2024-06-05T16:31:57.815" v="9699"/>
          <ac:cxnSpMkLst>
            <pc:docMk/>
            <pc:sldMk cId="3525276890" sldId="1404"/>
            <ac:cxnSpMk id="14" creationId="{D17F1784-2691-4FE4-AF82-B768FFFD942A}"/>
          </ac:cxnSpMkLst>
        </pc:cxnChg>
        <pc:cxnChg chg="add mod">
          <ac:chgData name="Hesse, Thomas Dr." userId="661ed4e0-7782-4a1c-9bc8-dd191b47db53" providerId="ADAL" clId="{C7B830A9-0123-4835-A836-7B72F5B1B7D9}" dt="2024-06-05T16:31:57.815" v="9699"/>
          <ac:cxnSpMkLst>
            <pc:docMk/>
            <pc:sldMk cId="3525276890" sldId="1404"/>
            <ac:cxnSpMk id="15" creationId="{8A05B422-1F71-4726-B6E5-7BAA31B63A84}"/>
          </ac:cxnSpMkLst>
        </pc:cxnChg>
        <pc:cxnChg chg="add mod">
          <ac:chgData name="Hesse, Thomas Dr." userId="661ed4e0-7782-4a1c-9bc8-dd191b47db53" providerId="ADAL" clId="{C7B830A9-0123-4835-A836-7B72F5B1B7D9}" dt="2024-06-05T16:31:57.883" v="9781"/>
          <ac:cxnSpMkLst>
            <pc:docMk/>
            <pc:sldMk cId="3525276890" sldId="1404"/>
            <ac:cxnSpMk id="20" creationId="{D17F1784-2691-4FE4-AF82-B768FFFD942A}"/>
          </ac:cxnSpMkLst>
        </pc:cxnChg>
        <pc:cxnChg chg="add mod">
          <ac:chgData name="Hesse, Thomas Dr." userId="661ed4e0-7782-4a1c-9bc8-dd191b47db53" providerId="ADAL" clId="{C7B830A9-0123-4835-A836-7B72F5B1B7D9}" dt="2024-06-05T16:31:57.883" v="9781"/>
          <ac:cxnSpMkLst>
            <pc:docMk/>
            <pc:sldMk cId="3525276890" sldId="1404"/>
            <ac:cxnSpMk id="21" creationId="{8A05B422-1F71-4726-B6E5-7BAA31B63A84}"/>
          </ac:cxnSpMkLst>
        </pc:cxnChg>
        <pc:cxnChg chg="add mod">
          <ac:chgData name="Hesse, Thomas Dr." userId="661ed4e0-7782-4a1c-9bc8-dd191b47db53" providerId="ADAL" clId="{C7B830A9-0123-4835-A836-7B72F5B1B7D9}" dt="2024-06-05T16:31:57.954" v="9863"/>
          <ac:cxnSpMkLst>
            <pc:docMk/>
            <pc:sldMk cId="3525276890" sldId="1404"/>
            <ac:cxnSpMk id="28" creationId="{D17F1784-2691-4FE4-AF82-B768FFFD942A}"/>
          </ac:cxnSpMkLst>
        </pc:cxnChg>
        <pc:cxnChg chg="add mod">
          <ac:chgData name="Hesse, Thomas Dr." userId="661ed4e0-7782-4a1c-9bc8-dd191b47db53" providerId="ADAL" clId="{C7B830A9-0123-4835-A836-7B72F5B1B7D9}" dt="2024-06-05T16:31:57.954" v="9863"/>
          <ac:cxnSpMkLst>
            <pc:docMk/>
            <pc:sldMk cId="3525276890" sldId="1404"/>
            <ac:cxnSpMk id="29" creationId="{8A05B422-1F71-4726-B6E5-7BAA31B63A84}"/>
          </ac:cxnSpMkLst>
        </pc:cxnChg>
      </pc:sldChg>
      <pc:sldChg chg="add del">
        <pc:chgData name="Hesse, Thomas Dr." userId="661ed4e0-7782-4a1c-9bc8-dd191b47db53" providerId="ADAL" clId="{C7B830A9-0123-4835-A836-7B72F5B1B7D9}" dt="2024-06-05T15:39:56.279" v="8521" actId="47"/>
        <pc:sldMkLst>
          <pc:docMk/>
          <pc:sldMk cId="3995368726" sldId="1405"/>
        </pc:sldMkLst>
      </pc:sldChg>
      <pc:sldChg chg="addSp modSp add mod ord">
        <pc:chgData name="Hesse, Thomas Dr." userId="661ed4e0-7782-4a1c-9bc8-dd191b47db53" providerId="ADAL" clId="{C7B830A9-0123-4835-A836-7B72F5B1B7D9}" dt="2024-06-06T06:26:23.695" v="11727" actId="20577"/>
        <pc:sldMkLst>
          <pc:docMk/>
          <pc:sldMk cId="4221975394" sldId="1405"/>
        </pc:sldMkLst>
        <pc:spChg chg="add mod replST">
          <ac:chgData name="Hesse, Thomas Dr." userId="661ed4e0-7782-4a1c-9bc8-dd191b47db53" providerId="ADAL" clId="{C7B830A9-0123-4835-A836-7B72F5B1B7D9}" dt="2024-06-05T16:31:58.234" v="10216"/>
          <ac:spMkLst>
            <pc:docMk/>
            <pc:sldMk cId="4221975394" sldId="1405"/>
            <ac:spMk id="2" creationId="{F2184C5A-DA94-4008-81AA-34FDFCD6C478}"/>
          </ac:spMkLst>
        </pc:spChg>
        <pc:spChg chg="add mod replST">
          <ac:chgData name="Hesse, Thomas Dr." userId="661ed4e0-7782-4a1c-9bc8-dd191b47db53" providerId="ADAL" clId="{C7B830A9-0123-4835-A836-7B72F5B1B7D9}" dt="2024-06-05T16:31:58.234" v="10216"/>
          <ac:spMkLst>
            <pc:docMk/>
            <pc:sldMk cId="4221975394" sldId="1405"/>
            <ac:spMk id="4" creationId="{0FB473AD-EB04-417F-BAA5-CFA80CE721A4}"/>
          </ac:spMkLst>
        </pc:spChg>
        <pc:spChg chg="mod ord replST">
          <ac:chgData name="Hesse, Thomas Dr." userId="661ed4e0-7782-4a1c-9bc8-dd191b47db53" providerId="ADAL" clId="{C7B830A9-0123-4835-A836-7B72F5B1B7D9}" dt="2024-06-05T16:31:58.239" v="10236"/>
          <ac:spMkLst>
            <pc:docMk/>
            <pc:sldMk cId="4221975394" sldId="1405"/>
            <ac:spMk id="5" creationId="{DF59139C-523E-7153-7B45-40433BF55885}"/>
          </ac:spMkLst>
        </pc:spChg>
        <pc:spChg chg="add mod replST">
          <ac:chgData name="Hesse, Thomas Dr." userId="661ed4e0-7782-4a1c-9bc8-dd191b47db53" providerId="ADAL" clId="{C7B830A9-0123-4835-A836-7B72F5B1B7D9}" dt="2024-06-06T06:26:23.693" v="11724" actId="20577"/>
          <ac:spMkLst>
            <pc:docMk/>
            <pc:sldMk cId="4221975394" sldId="1405"/>
            <ac:spMk id="6" creationId="{FC093E87-1577-48CA-AB00-5C075EC783E1}"/>
          </ac:spMkLst>
        </pc:spChg>
        <pc:spChg chg="add mod">
          <ac:chgData name="Hesse, Thomas Dr." userId="661ed4e0-7782-4a1c-9bc8-dd191b47db53" providerId="ADAL" clId="{C7B830A9-0123-4835-A836-7B72F5B1B7D9}" dt="2024-06-05T16:31:58.032" v="9967"/>
          <ac:spMkLst>
            <pc:docMk/>
            <pc:sldMk cId="4221975394" sldId="1405"/>
            <ac:spMk id="8" creationId="{DDFD1C8D-67FD-455B-9704-1CE16FFAA7A2}"/>
          </ac:spMkLst>
        </pc:spChg>
        <pc:spChg chg="add mod replST">
          <ac:chgData name="Hesse, Thomas Dr." userId="661ed4e0-7782-4a1c-9bc8-dd191b47db53" providerId="ADAL" clId="{C7B830A9-0123-4835-A836-7B72F5B1B7D9}" dt="2024-06-05T16:31:58.234" v="10216"/>
          <ac:spMkLst>
            <pc:docMk/>
            <pc:sldMk cId="4221975394" sldId="1405"/>
            <ac:spMk id="11" creationId="{B61CB580-DF8B-48AF-BCE7-BFEC15B6A502}"/>
          </ac:spMkLst>
        </pc:spChg>
        <pc:spChg chg="add mod replST">
          <ac:chgData name="Hesse, Thomas Dr." userId="661ed4e0-7782-4a1c-9bc8-dd191b47db53" providerId="ADAL" clId="{C7B830A9-0123-4835-A836-7B72F5B1B7D9}" dt="2024-06-05T16:31:58.234" v="10216"/>
          <ac:spMkLst>
            <pc:docMk/>
            <pc:sldMk cId="4221975394" sldId="1405"/>
            <ac:spMk id="12" creationId="{1E6469EE-1B98-4322-AEB5-C9BF1E8A474D}"/>
          </ac:spMkLst>
        </pc:spChg>
        <pc:spChg chg="add mod replST">
          <ac:chgData name="Hesse, Thomas Dr." userId="661ed4e0-7782-4a1c-9bc8-dd191b47db53" providerId="ADAL" clId="{C7B830A9-0123-4835-A836-7B72F5B1B7D9}" dt="2024-06-06T06:26:23.694" v="11725" actId="20577"/>
          <ac:spMkLst>
            <pc:docMk/>
            <pc:sldMk cId="4221975394" sldId="1405"/>
            <ac:spMk id="13" creationId="{188A44A1-90B2-4719-B50D-B1923DD2398F}"/>
          </ac:spMkLst>
        </pc:spChg>
        <pc:spChg chg="add mod replST">
          <ac:chgData name="Hesse, Thomas Dr." userId="661ed4e0-7782-4a1c-9bc8-dd191b47db53" providerId="ADAL" clId="{C7B830A9-0123-4835-A836-7B72F5B1B7D9}" dt="2024-06-05T16:31:58.234" v="10216"/>
          <ac:spMkLst>
            <pc:docMk/>
            <pc:sldMk cId="4221975394" sldId="1405"/>
            <ac:spMk id="17" creationId="{B61CB580-DF8B-48AF-BCE7-BFEC15B6A502}"/>
          </ac:spMkLst>
        </pc:spChg>
        <pc:spChg chg="add mod replST">
          <ac:chgData name="Hesse, Thomas Dr." userId="661ed4e0-7782-4a1c-9bc8-dd191b47db53" providerId="ADAL" clId="{C7B830A9-0123-4835-A836-7B72F5B1B7D9}" dt="2024-06-05T16:31:58.234" v="10216"/>
          <ac:spMkLst>
            <pc:docMk/>
            <pc:sldMk cId="4221975394" sldId="1405"/>
            <ac:spMk id="18" creationId="{1E6469EE-1B98-4322-AEB5-C9BF1E8A474D}"/>
          </ac:spMkLst>
        </pc:spChg>
        <pc:spChg chg="add mod replST">
          <ac:chgData name="Hesse, Thomas Dr." userId="661ed4e0-7782-4a1c-9bc8-dd191b47db53" providerId="ADAL" clId="{C7B830A9-0123-4835-A836-7B72F5B1B7D9}" dt="2024-06-06T06:26:23.694" v="11726" actId="20577"/>
          <ac:spMkLst>
            <pc:docMk/>
            <pc:sldMk cId="4221975394" sldId="1405"/>
            <ac:spMk id="19" creationId="{188A44A1-90B2-4719-B50D-B1923DD2398F}"/>
          </ac:spMkLst>
        </pc:spChg>
        <pc:spChg chg="add mod replST">
          <ac:chgData name="Hesse, Thomas Dr." userId="661ed4e0-7782-4a1c-9bc8-dd191b47db53" providerId="ADAL" clId="{C7B830A9-0123-4835-A836-7B72F5B1B7D9}" dt="2024-06-05T16:31:58.234" v="10216"/>
          <ac:spMkLst>
            <pc:docMk/>
            <pc:sldMk cId="4221975394" sldId="1405"/>
            <ac:spMk id="24" creationId="{B61CB580-DF8B-48AF-BCE7-BFEC15B6A502}"/>
          </ac:spMkLst>
        </pc:spChg>
        <pc:spChg chg="add mod replST">
          <ac:chgData name="Hesse, Thomas Dr." userId="661ed4e0-7782-4a1c-9bc8-dd191b47db53" providerId="ADAL" clId="{C7B830A9-0123-4835-A836-7B72F5B1B7D9}" dt="2024-06-05T16:31:58.234" v="10216"/>
          <ac:spMkLst>
            <pc:docMk/>
            <pc:sldMk cId="4221975394" sldId="1405"/>
            <ac:spMk id="25" creationId="{1E6469EE-1B98-4322-AEB5-C9BF1E8A474D}"/>
          </ac:spMkLst>
        </pc:spChg>
        <pc:spChg chg="add mod replST">
          <ac:chgData name="Hesse, Thomas Dr." userId="661ed4e0-7782-4a1c-9bc8-dd191b47db53" providerId="ADAL" clId="{C7B830A9-0123-4835-A836-7B72F5B1B7D9}" dt="2024-06-06T06:26:23.695" v="11727" actId="20577"/>
          <ac:spMkLst>
            <pc:docMk/>
            <pc:sldMk cId="4221975394" sldId="1405"/>
            <ac:spMk id="26" creationId="{188A44A1-90B2-4719-B50D-B1923DD2398F}"/>
          </ac:spMkLst>
        </pc:spChg>
        <pc:grpChg chg="add mod ord replST">
          <ac:chgData name="Hesse, Thomas Dr." userId="661ed4e0-7782-4a1c-9bc8-dd191b47db53" providerId="ADAL" clId="{C7B830A9-0123-4835-A836-7B72F5B1B7D9}" dt="2024-06-05T16:31:58.234" v="10216"/>
          <ac:grpSpMkLst>
            <pc:docMk/>
            <pc:sldMk cId="4221975394" sldId="1405"/>
            <ac:grpSpMk id="7" creationId="{1A8D0AF9-D849-489E-955F-E4F60B6BF84B}"/>
          </ac:grpSpMkLst>
        </pc:grpChg>
        <pc:grpChg chg="add mod ord replST">
          <ac:chgData name="Hesse, Thomas Dr." userId="661ed4e0-7782-4a1c-9bc8-dd191b47db53" providerId="ADAL" clId="{C7B830A9-0123-4835-A836-7B72F5B1B7D9}" dt="2024-06-05T16:31:58.234" v="10216"/>
          <ac:grpSpMkLst>
            <pc:docMk/>
            <pc:sldMk cId="4221975394" sldId="1405"/>
            <ac:grpSpMk id="14" creationId="{F6C87C0E-1651-4964-8214-4B8A6FB75CB9}"/>
          </ac:grpSpMkLst>
        </pc:grpChg>
        <pc:grpChg chg="add mod ord replST">
          <ac:chgData name="Hesse, Thomas Dr." userId="661ed4e0-7782-4a1c-9bc8-dd191b47db53" providerId="ADAL" clId="{C7B830A9-0123-4835-A836-7B72F5B1B7D9}" dt="2024-06-05T16:31:58.234" v="10216"/>
          <ac:grpSpMkLst>
            <pc:docMk/>
            <pc:sldMk cId="4221975394" sldId="1405"/>
            <ac:grpSpMk id="20" creationId="{F6C87C0E-1651-4964-8214-4B8A6FB75CB9}"/>
          </ac:grpSpMkLst>
        </pc:grpChg>
        <pc:grpChg chg="add mod ord replST">
          <ac:chgData name="Hesse, Thomas Dr." userId="661ed4e0-7782-4a1c-9bc8-dd191b47db53" providerId="ADAL" clId="{C7B830A9-0123-4835-A836-7B72F5B1B7D9}" dt="2024-06-05T16:31:58.234" v="10216"/>
          <ac:grpSpMkLst>
            <pc:docMk/>
            <pc:sldMk cId="4221975394" sldId="1405"/>
            <ac:grpSpMk id="28" creationId="{F6C87C0E-1651-4964-8214-4B8A6FB75CB9}"/>
          </ac:grpSpMkLst>
        </pc:grpChg>
        <pc:grpChg chg="add mod replST">
          <ac:chgData name="Hesse, Thomas Dr." userId="661ed4e0-7782-4a1c-9bc8-dd191b47db53" providerId="ADAL" clId="{C7B830A9-0123-4835-A836-7B72F5B1B7D9}" dt="2024-06-05T16:31:58.238" v="10234"/>
          <ac:grpSpMkLst>
            <pc:docMk/>
            <pc:sldMk cId="4221975394" sldId="1405"/>
            <ac:grpSpMk id="31" creationId="{DD358897-77A8-522A-432B-983C555CEE8E}"/>
          </ac:grpSpMkLst>
        </pc:grpChg>
        <pc:cxnChg chg="add mod">
          <ac:chgData name="Hesse, Thomas Dr." userId="661ed4e0-7782-4a1c-9bc8-dd191b47db53" providerId="ADAL" clId="{C7B830A9-0123-4835-A836-7B72F5B1B7D9}" dt="2024-06-05T16:31:58.032" v="9967"/>
          <ac:cxnSpMkLst>
            <pc:docMk/>
            <pc:sldMk cId="4221975394" sldId="1405"/>
            <ac:cxnSpMk id="9" creationId="{2FE8F699-9CAD-48EA-B487-78EB1D3307A8}"/>
          </ac:cxnSpMkLst>
        </pc:cxnChg>
        <pc:cxnChg chg="add mod">
          <ac:chgData name="Hesse, Thomas Dr." userId="661ed4e0-7782-4a1c-9bc8-dd191b47db53" providerId="ADAL" clId="{C7B830A9-0123-4835-A836-7B72F5B1B7D9}" dt="2024-06-05T16:31:58.032" v="9967"/>
          <ac:cxnSpMkLst>
            <pc:docMk/>
            <pc:sldMk cId="4221975394" sldId="1405"/>
            <ac:cxnSpMk id="10" creationId="{5E5E54F6-1EA0-4CBA-8FD9-A9BE679583B4}"/>
          </ac:cxnSpMkLst>
        </pc:cxnChg>
        <pc:cxnChg chg="add mod">
          <ac:chgData name="Hesse, Thomas Dr." userId="661ed4e0-7782-4a1c-9bc8-dd191b47db53" providerId="ADAL" clId="{C7B830A9-0123-4835-A836-7B72F5B1B7D9}" dt="2024-06-05T16:31:58.100" v="10049"/>
          <ac:cxnSpMkLst>
            <pc:docMk/>
            <pc:sldMk cId="4221975394" sldId="1405"/>
            <ac:cxnSpMk id="15" creationId="{D17F1784-2691-4FE4-AF82-B768FFFD942A}"/>
          </ac:cxnSpMkLst>
        </pc:cxnChg>
        <pc:cxnChg chg="add mod">
          <ac:chgData name="Hesse, Thomas Dr." userId="661ed4e0-7782-4a1c-9bc8-dd191b47db53" providerId="ADAL" clId="{C7B830A9-0123-4835-A836-7B72F5B1B7D9}" dt="2024-06-05T16:31:58.100" v="10049"/>
          <ac:cxnSpMkLst>
            <pc:docMk/>
            <pc:sldMk cId="4221975394" sldId="1405"/>
            <ac:cxnSpMk id="16" creationId="{8A05B422-1F71-4726-B6E5-7BAA31B63A84}"/>
          </ac:cxnSpMkLst>
        </pc:cxnChg>
        <pc:cxnChg chg="add mod">
          <ac:chgData name="Hesse, Thomas Dr." userId="661ed4e0-7782-4a1c-9bc8-dd191b47db53" providerId="ADAL" clId="{C7B830A9-0123-4835-A836-7B72F5B1B7D9}" dt="2024-06-05T16:31:58.166" v="10131"/>
          <ac:cxnSpMkLst>
            <pc:docMk/>
            <pc:sldMk cId="4221975394" sldId="1405"/>
            <ac:cxnSpMk id="21" creationId="{D17F1784-2691-4FE4-AF82-B768FFFD942A}"/>
          </ac:cxnSpMkLst>
        </pc:cxnChg>
        <pc:cxnChg chg="add mod">
          <ac:chgData name="Hesse, Thomas Dr." userId="661ed4e0-7782-4a1c-9bc8-dd191b47db53" providerId="ADAL" clId="{C7B830A9-0123-4835-A836-7B72F5B1B7D9}" dt="2024-06-05T16:31:58.166" v="10131"/>
          <ac:cxnSpMkLst>
            <pc:docMk/>
            <pc:sldMk cId="4221975394" sldId="1405"/>
            <ac:cxnSpMk id="22" creationId="{8A05B422-1F71-4726-B6E5-7BAA31B63A84}"/>
          </ac:cxnSpMkLst>
        </pc:cxnChg>
        <pc:cxnChg chg="add mod">
          <ac:chgData name="Hesse, Thomas Dr." userId="661ed4e0-7782-4a1c-9bc8-dd191b47db53" providerId="ADAL" clId="{C7B830A9-0123-4835-A836-7B72F5B1B7D9}" dt="2024-06-05T16:31:58.232" v="10213"/>
          <ac:cxnSpMkLst>
            <pc:docMk/>
            <pc:sldMk cId="4221975394" sldId="1405"/>
            <ac:cxnSpMk id="29" creationId="{D17F1784-2691-4FE4-AF82-B768FFFD942A}"/>
          </ac:cxnSpMkLst>
        </pc:cxnChg>
        <pc:cxnChg chg="add mod">
          <ac:chgData name="Hesse, Thomas Dr." userId="661ed4e0-7782-4a1c-9bc8-dd191b47db53" providerId="ADAL" clId="{C7B830A9-0123-4835-A836-7B72F5B1B7D9}" dt="2024-06-05T16:31:58.232" v="10213"/>
          <ac:cxnSpMkLst>
            <pc:docMk/>
            <pc:sldMk cId="4221975394" sldId="1405"/>
            <ac:cxnSpMk id="30" creationId="{8A05B422-1F71-4726-B6E5-7BAA31B63A84}"/>
          </ac:cxnSpMkLst>
        </pc:cxnChg>
      </pc:sldChg>
      <pc:sldChg chg="addSp modSp add mod ord">
        <pc:chgData name="Hesse, Thomas Dr." userId="661ed4e0-7782-4a1c-9bc8-dd191b47db53" providerId="ADAL" clId="{C7B830A9-0123-4835-A836-7B72F5B1B7D9}" dt="2024-06-06T06:26:23.698" v="11731" actId="20577"/>
        <pc:sldMkLst>
          <pc:docMk/>
          <pc:sldMk cId="1175146319" sldId="1406"/>
        </pc:sldMkLst>
        <pc:spChg chg="add mod replST">
          <ac:chgData name="Hesse, Thomas Dr." userId="661ed4e0-7782-4a1c-9bc8-dd191b47db53" providerId="ADAL" clId="{C7B830A9-0123-4835-A836-7B72F5B1B7D9}" dt="2024-06-05T16:31:58.539" v="10569"/>
          <ac:spMkLst>
            <pc:docMk/>
            <pc:sldMk cId="1175146319" sldId="1406"/>
            <ac:spMk id="2" creationId="{B61CB580-DF8B-48AF-BCE7-BFEC15B6A502}"/>
          </ac:spMkLst>
        </pc:spChg>
        <pc:spChg chg="add mod replST">
          <ac:chgData name="Hesse, Thomas Dr." userId="661ed4e0-7782-4a1c-9bc8-dd191b47db53" providerId="ADAL" clId="{C7B830A9-0123-4835-A836-7B72F5B1B7D9}" dt="2024-06-05T16:31:58.539" v="10569"/>
          <ac:spMkLst>
            <pc:docMk/>
            <pc:sldMk cId="1175146319" sldId="1406"/>
            <ac:spMk id="4" creationId="{1E6469EE-1B98-4322-AEB5-C9BF1E8A474D}"/>
          </ac:spMkLst>
        </pc:spChg>
        <pc:spChg chg="mod ord replST">
          <ac:chgData name="Hesse, Thomas Dr." userId="661ed4e0-7782-4a1c-9bc8-dd191b47db53" providerId="ADAL" clId="{C7B830A9-0123-4835-A836-7B72F5B1B7D9}" dt="2024-06-05T16:31:58.544" v="10589"/>
          <ac:spMkLst>
            <pc:docMk/>
            <pc:sldMk cId="1175146319" sldId="1406"/>
            <ac:spMk id="5" creationId="{DF59139C-523E-7153-7B45-40433BF55885}"/>
          </ac:spMkLst>
        </pc:spChg>
        <pc:spChg chg="add mod replST">
          <ac:chgData name="Hesse, Thomas Dr." userId="661ed4e0-7782-4a1c-9bc8-dd191b47db53" providerId="ADAL" clId="{C7B830A9-0123-4835-A836-7B72F5B1B7D9}" dt="2024-06-06T06:26:23.696" v="11728" actId="20577"/>
          <ac:spMkLst>
            <pc:docMk/>
            <pc:sldMk cId="1175146319" sldId="1406"/>
            <ac:spMk id="6" creationId="{188A44A1-90B2-4719-B50D-B1923DD2398F}"/>
          </ac:spMkLst>
        </pc:spChg>
        <pc:spChg chg="add mod replST">
          <ac:chgData name="Hesse, Thomas Dr." userId="661ed4e0-7782-4a1c-9bc8-dd191b47db53" providerId="ADAL" clId="{C7B830A9-0123-4835-A836-7B72F5B1B7D9}" dt="2024-06-05T16:31:58.539" v="10569"/>
          <ac:spMkLst>
            <pc:docMk/>
            <pc:sldMk cId="1175146319" sldId="1406"/>
            <ac:spMk id="10" creationId="{F2184C5A-DA94-4008-81AA-34FDFCD6C478}"/>
          </ac:spMkLst>
        </pc:spChg>
        <pc:spChg chg="add mod replST">
          <ac:chgData name="Hesse, Thomas Dr." userId="661ed4e0-7782-4a1c-9bc8-dd191b47db53" providerId="ADAL" clId="{C7B830A9-0123-4835-A836-7B72F5B1B7D9}" dt="2024-06-05T16:31:58.539" v="10569"/>
          <ac:spMkLst>
            <pc:docMk/>
            <pc:sldMk cId="1175146319" sldId="1406"/>
            <ac:spMk id="11" creationId="{0FB473AD-EB04-417F-BAA5-CFA80CE721A4}"/>
          </ac:spMkLst>
        </pc:spChg>
        <pc:spChg chg="add mod replST">
          <ac:chgData name="Hesse, Thomas Dr." userId="661ed4e0-7782-4a1c-9bc8-dd191b47db53" providerId="ADAL" clId="{C7B830A9-0123-4835-A836-7B72F5B1B7D9}" dt="2024-06-06T06:26:23.697" v="11729" actId="20577"/>
          <ac:spMkLst>
            <pc:docMk/>
            <pc:sldMk cId="1175146319" sldId="1406"/>
            <ac:spMk id="12" creationId="{FC093E87-1577-48CA-AB00-5C075EC783E1}"/>
          </ac:spMkLst>
        </pc:spChg>
        <pc:spChg chg="add mod">
          <ac:chgData name="Hesse, Thomas Dr." userId="661ed4e0-7782-4a1c-9bc8-dd191b47db53" providerId="ADAL" clId="{C7B830A9-0123-4835-A836-7B72F5B1B7D9}" dt="2024-06-05T16:31:58.392" v="10402"/>
          <ac:spMkLst>
            <pc:docMk/>
            <pc:sldMk cId="1175146319" sldId="1406"/>
            <ac:spMk id="14" creationId="{DDFD1C8D-67FD-455B-9704-1CE16FFAA7A2}"/>
          </ac:spMkLst>
        </pc:spChg>
        <pc:spChg chg="add mod replST">
          <ac:chgData name="Hesse, Thomas Dr." userId="661ed4e0-7782-4a1c-9bc8-dd191b47db53" providerId="ADAL" clId="{C7B830A9-0123-4835-A836-7B72F5B1B7D9}" dt="2024-06-05T16:31:58.539" v="10569"/>
          <ac:spMkLst>
            <pc:docMk/>
            <pc:sldMk cId="1175146319" sldId="1406"/>
            <ac:spMk id="17" creationId="{B61CB580-DF8B-48AF-BCE7-BFEC15B6A502}"/>
          </ac:spMkLst>
        </pc:spChg>
        <pc:spChg chg="add mod replST">
          <ac:chgData name="Hesse, Thomas Dr." userId="661ed4e0-7782-4a1c-9bc8-dd191b47db53" providerId="ADAL" clId="{C7B830A9-0123-4835-A836-7B72F5B1B7D9}" dt="2024-06-05T16:31:58.539" v="10569"/>
          <ac:spMkLst>
            <pc:docMk/>
            <pc:sldMk cId="1175146319" sldId="1406"/>
            <ac:spMk id="18" creationId="{1E6469EE-1B98-4322-AEB5-C9BF1E8A474D}"/>
          </ac:spMkLst>
        </pc:spChg>
        <pc:spChg chg="add mod replST">
          <ac:chgData name="Hesse, Thomas Dr." userId="661ed4e0-7782-4a1c-9bc8-dd191b47db53" providerId="ADAL" clId="{C7B830A9-0123-4835-A836-7B72F5B1B7D9}" dt="2024-06-06T06:26:23.697" v="11730" actId="20577"/>
          <ac:spMkLst>
            <pc:docMk/>
            <pc:sldMk cId="1175146319" sldId="1406"/>
            <ac:spMk id="19" creationId="{188A44A1-90B2-4719-B50D-B1923DD2398F}"/>
          </ac:spMkLst>
        </pc:spChg>
        <pc:spChg chg="add mod replST">
          <ac:chgData name="Hesse, Thomas Dr." userId="661ed4e0-7782-4a1c-9bc8-dd191b47db53" providerId="ADAL" clId="{C7B830A9-0123-4835-A836-7B72F5B1B7D9}" dt="2024-06-05T16:31:58.539" v="10569"/>
          <ac:spMkLst>
            <pc:docMk/>
            <pc:sldMk cId="1175146319" sldId="1406"/>
            <ac:spMk id="24" creationId="{B61CB580-DF8B-48AF-BCE7-BFEC15B6A502}"/>
          </ac:spMkLst>
        </pc:spChg>
        <pc:spChg chg="add mod replST">
          <ac:chgData name="Hesse, Thomas Dr." userId="661ed4e0-7782-4a1c-9bc8-dd191b47db53" providerId="ADAL" clId="{C7B830A9-0123-4835-A836-7B72F5B1B7D9}" dt="2024-06-05T16:31:58.539" v="10569"/>
          <ac:spMkLst>
            <pc:docMk/>
            <pc:sldMk cId="1175146319" sldId="1406"/>
            <ac:spMk id="25" creationId="{1E6469EE-1B98-4322-AEB5-C9BF1E8A474D}"/>
          </ac:spMkLst>
        </pc:spChg>
        <pc:spChg chg="add mod replST">
          <ac:chgData name="Hesse, Thomas Dr." userId="661ed4e0-7782-4a1c-9bc8-dd191b47db53" providerId="ADAL" clId="{C7B830A9-0123-4835-A836-7B72F5B1B7D9}" dt="2024-06-06T06:26:23.698" v="11731" actId="20577"/>
          <ac:spMkLst>
            <pc:docMk/>
            <pc:sldMk cId="1175146319" sldId="1406"/>
            <ac:spMk id="26" creationId="{188A44A1-90B2-4719-B50D-B1923DD2398F}"/>
          </ac:spMkLst>
        </pc:spChg>
        <pc:grpChg chg="add mod ord replST">
          <ac:chgData name="Hesse, Thomas Dr." userId="661ed4e0-7782-4a1c-9bc8-dd191b47db53" providerId="ADAL" clId="{C7B830A9-0123-4835-A836-7B72F5B1B7D9}" dt="2024-06-05T16:31:58.539" v="10569"/>
          <ac:grpSpMkLst>
            <pc:docMk/>
            <pc:sldMk cId="1175146319" sldId="1406"/>
            <ac:grpSpMk id="7" creationId="{F6C87C0E-1651-4964-8214-4B8A6FB75CB9}"/>
          </ac:grpSpMkLst>
        </pc:grpChg>
        <pc:grpChg chg="add mod ord replST">
          <ac:chgData name="Hesse, Thomas Dr." userId="661ed4e0-7782-4a1c-9bc8-dd191b47db53" providerId="ADAL" clId="{C7B830A9-0123-4835-A836-7B72F5B1B7D9}" dt="2024-06-05T16:31:58.539" v="10569"/>
          <ac:grpSpMkLst>
            <pc:docMk/>
            <pc:sldMk cId="1175146319" sldId="1406"/>
            <ac:grpSpMk id="13" creationId="{1A8D0AF9-D849-489E-955F-E4F60B6BF84B}"/>
          </ac:grpSpMkLst>
        </pc:grpChg>
        <pc:grpChg chg="add mod ord replST">
          <ac:chgData name="Hesse, Thomas Dr." userId="661ed4e0-7782-4a1c-9bc8-dd191b47db53" providerId="ADAL" clId="{C7B830A9-0123-4835-A836-7B72F5B1B7D9}" dt="2024-06-05T16:31:58.539" v="10569"/>
          <ac:grpSpMkLst>
            <pc:docMk/>
            <pc:sldMk cId="1175146319" sldId="1406"/>
            <ac:grpSpMk id="20" creationId="{F6C87C0E-1651-4964-8214-4B8A6FB75CB9}"/>
          </ac:grpSpMkLst>
        </pc:grpChg>
        <pc:grpChg chg="add mod ord replST">
          <ac:chgData name="Hesse, Thomas Dr." userId="661ed4e0-7782-4a1c-9bc8-dd191b47db53" providerId="ADAL" clId="{C7B830A9-0123-4835-A836-7B72F5B1B7D9}" dt="2024-06-05T16:31:58.539" v="10569"/>
          <ac:grpSpMkLst>
            <pc:docMk/>
            <pc:sldMk cId="1175146319" sldId="1406"/>
            <ac:grpSpMk id="28" creationId="{F6C87C0E-1651-4964-8214-4B8A6FB75CB9}"/>
          </ac:grpSpMkLst>
        </pc:grpChg>
        <pc:grpChg chg="add mod replST">
          <ac:chgData name="Hesse, Thomas Dr." userId="661ed4e0-7782-4a1c-9bc8-dd191b47db53" providerId="ADAL" clId="{C7B830A9-0123-4835-A836-7B72F5B1B7D9}" dt="2024-06-05T16:31:58.543" v="10587"/>
          <ac:grpSpMkLst>
            <pc:docMk/>
            <pc:sldMk cId="1175146319" sldId="1406"/>
            <ac:grpSpMk id="31" creationId="{FF607B37-CC78-18EB-6A89-E18AE13E0C98}"/>
          </ac:grpSpMkLst>
        </pc:grpChg>
        <pc:cxnChg chg="add mod">
          <ac:chgData name="Hesse, Thomas Dr." userId="661ed4e0-7782-4a1c-9bc8-dd191b47db53" providerId="ADAL" clId="{C7B830A9-0123-4835-A836-7B72F5B1B7D9}" dt="2024-06-05T16:31:58.313" v="10318"/>
          <ac:cxnSpMkLst>
            <pc:docMk/>
            <pc:sldMk cId="1175146319" sldId="1406"/>
            <ac:cxnSpMk id="8" creationId="{D17F1784-2691-4FE4-AF82-B768FFFD942A}"/>
          </ac:cxnSpMkLst>
        </pc:cxnChg>
        <pc:cxnChg chg="add mod">
          <ac:chgData name="Hesse, Thomas Dr." userId="661ed4e0-7782-4a1c-9bc8-dd191b47db53" providerId="ADAL" clId="{C7B830A9-0123-4835-A836-7B72F5B1B7D9}" dt="2024-06-05T16:31:58.313" v="10318"/>
          <ac:cxnSpMkLst>
            <pc:docMk/>
            <pc:sldMk cId="1175146319" sldId="1406"/>
            <ac:cxnSpMk id="9" creationId="{8A05B422-1F71-4726-B6E5-7BAA31B63A84}"/>
          </ac:cxnSpMkLst>
        </pc:cxnChg>
        <pc:cxnChg chg="add mod">
          <ac:chgData name="Hesse, Thomas Dr." userId="661ed4e0-7782-4a1c-9bc8-dd191b47db53" providerId="ADAL" clId="{C7B830A9-0123-4835-A836-7B72F5B1B7D9}" dt="2024-06-05T16:31:58.392" v="10402"/>
          <ac:cxnSpMkLst>
            <pc:docMk/>
            <pc:sldMk cId="1175146319" sldId="1406"/>
            <ac:cxnSpMk id="15" creationId="{2FE8F699-9CAD-48EA-B487-78EB1D3307A8}"/>
          </ac:cxnSpMkLst>
        </pc:cxnChg>
        <pc:cxnChg chg="add mod">
          <ac:chgData name="Hesse, Thomas Dr." userId="661ed4e0-7782-4a1c-9bc8-dd191b47db53" providerId="ADAL" clId="{C7B830A9-0123-4835-A836-7B72F5B1B7D9}" dt="2024-06-05T16:31:58.392" v="10402"/>
          <ac:cxnSpMkLst>
            <pc:docMk/>
            <pc:sldMk cId="1175146319" sldId="1406"/>
            <ac:cxnSpMk id="16" creationId="{5E5E54F6-1EA0-4CBA-8FD9-A9BE679583B4}"/>
          </ac:cxnSpMkLst>
        </pc:cxnChg>
        <pc:cxnChg chg="add mod">
          <ac:chgData name="Hesse, Thomas Dr." userId="661ed4e0-7782-4a1c-9bc8-dd191b47db53" providerId="ADAL" clId="{C7B830A9-0123-4835-A836-7B72F5B1B7D9}" dt="2024-06-05T16:31:58.459" v="10484"/>
          <ac:cxnSpMkLst>
            <pc:docMk/>
            <pc:sldMk cId="1175146319" sldId="1406"/>
            <ac:cxnSpMk id="21" creationId="{D17F1784-2691-4FE4-AF82-B768FFFD942A}"/>
          </ac:cxnSpMkLst>
        </pc:cxnChg>
        <pc:cxnChg chg="add mod">
          <ac:chgData name="Hesse, Thomas Dr." userId="661ed4e0-7782-4a1c-9bc8-dd191b47db53" providerId="ADAL" clId="{C7B830A9-0123-4835-A836-7B72F5B1B7D9}" dt="2024-06-05T16:31:58.459" v="10484"/>
          <ac:cxnSpMkLst>
            <pc:docMk/>
            <pc:sldMk cId="1175146319" sldId="1406"/>
            <ac:cxnSpMk id="22" creationId="{8A05B422-1F71-4726-B6E5-7BAA31B63A84}"/>
          </ac:cxnSpMkLst>
        </pc:cxnChg>
        <pc:cxnChg chg="add mod">
          <ac:chgData name="Hesse, Thomas Dr." userId="661ed4e0-7782-4a1c-9bc8-dd191b47db53" providerId="ADAL" clId="{C7B830A9-0123-4835-A836-7B72F5B1B7D9}" dt="2024-06-05T16:31:58.536" v="10566"/>
          <ac:cxnSpMkLst>
            <pc:docMk/>
            <pc:sldMk cId="1175146319" sldId="1406"/>
            <ac:cxnSpMk id="29" creationId="{D17F1784-2691-4FE4-AF82-B768FFFD942A}"/>
          </ac:cxnSpMkLst>
        </pc:cxnChg>
        <pc:cxnChg chg="add mod">
          <ac:chgData name="Hesse, Thomas Dr." userId="661ed4e0-7782-4a1c-9bc8-dd191b47db53" providerId="ADAL" clId="{C7B830A9-0123-4835-A836-7B72F5B1B7D9}" dt="2024-06-05T16:31:58.536" v="10566"/>
          <ac:cxnSpMkLst>
            <pc:docMk/>
            <pc:sldMk cId="1175146319" sldId="1406"/>
            <ac:cxnSpMk id="30" creationId="{8A05B422-1F71-4726-B6E5-7BAA31B63A84}"/>
          </ac:cxnSpMkLst>
        </pc:cxnChg>
      </pc:sldChg>
      <pc:sldChg chg="addSp modSp add mod ord">
        <pc:chgData name="Hesse, Thomas Dr." userId="661ed4e0-7782-4a1c-9bc8-dd191b47db53" providerId="ADAL" clId="{C7B830A9-0123-4835-A836-7B72F5B1B7D9}" dt="2024-06-06T06:26:23.702" v="11735" actId="20577"/>
        <pc:sldMkLst>
          <pc:docMk/>
          <pc:sldMk cId="1346424527" sldId="1407"/>
        </pc:sldMkLst>
        <pc:spChg chg="add mod replST">
          <ac:chgData name="Hesse, Thomas Dr." userId="661ed4e0-7782-4a1c-9bc8-dd191b47db53" providerId="ADAL" clId="{C7B830A9-0123-4835-A836-7B72F5B1B7D9}" dt="2024-06-05T16:31:58.838" v="10922"/>
          <ac:spMkLst>
            <pc:docMk/>
            <pc:sldMk cId="1346424527" sldId="1407"/>
            <ac:spMk id="2" creationId="{B61CB580-DF8B-48AF-BCE7-BFEC15B6A502}"/>
          </ac:spMkLst>
        </pc:spChg>
        <pc:spChg chg="add mod replST">
          <ac:chgData name="Hesse, Thomas Dr." userId="661ed4e0-7782-4a1c-9bc8-dd191b47db53" providerId="ADAL" clId="{C7B830A9-0123-4835-A836-7B72F5B1B7D9}" dt="2024-06-05T16:31:58.838" v="10922"/>
          <ac:spMkLst>
            <pc:docMk/>
            <pc:sldMk cId="1346424527" sldId="1407"/>
            <ac:spMk id="4" creationId="{1E6469EE-1B98-4322-AEB5-C9BF1E8A474D}"/>
          </ac:spMkLst>
        </pc:spChg>
        <pc:spChg chg="mod ord replST">
          <ac:chgData name="Hesse, Thomas Dr." userId="661ed4e0-7782-4a1c-9bc8-dd191b47db53" providerId="ADAL" clId="{C7B830A9-0123-4835-A836-7B72F5B1B7D9}" dt="2024-06-05T16:31:58.842" v="10942"/>
          <ac:spMkLst>
            <pc:docMk/>
            <pc:sldMk cId="1346424527" sldId="1407"/>
            <ac:spMk id="5" creationId="{DF59139C-523E-7153-7B45-40433BF55885}"/>
          </ac:spMkLst>
        </pc:spChg>
        <pc:spChg chg="add mod replST">
          <ac:chgData name="Hesse, Thomas Dr." userId="661ed4e0-7782-4a1c-9bc8-dd191b47db53" providerId="ADAL" clId="{C7B830A9-0123-4835-A836-7B72F5B1B7D9}" dt="2024-06-06T06:26:23.699" v="11732" actId="20577"/>
          <ac:spMkLst>
            <pc:docMk/>
            <pc:sldMk cId="1346424527" sldId="1407"/>
            <ac:spMk id="6" creationId="{188A44A1-90B2-4719-B50D-B1923DD2398F}"/>
          </ac:spMkLst>
        </pc:spChg>
        <pc:spChg chg="add mod replST">
          <ac:chgData name="Hesse, Thomas Dr." userId="661ed4e0-7782-4a1c-9bc8-dd191b47db53" providerId="ADAL" clId="{C7B830A9-0123-4835-A836-7B72F5B1B7D9}" dt="2024-06-05T16:31:58.838" v="10922"/>
          <ac:spMkLst>
            <pc:docMk/>
            <pc:sldMk cId="1346424527" sldId="1407"/>
            <ac:spMk id="10" creationId="{B61CB580-DF8B-48AF-BCE7-BFEC15B6A502}"/>
          </ac:spMkLst>
        </pc:spChg>
        <pc:spChg chg="add mod replST">
          <ac:chgData name="Hesse, Thomas Dr." userId="661ed4e0-7782-4a1c-9bc8-dd191b47db53" providerId="ADAL" clId="{C7B830A9-0123-4835-A836-7B72F5B1B7D9}" dt="2024-06-05T16:31:58.838" v="10922"/>
          <ac:spMkLst>
            <pc:docMk/>
            <pc:sldMk cId="1346424527" sldId="1407"/>
            <ac:spMk id="11" creationId="{1E6469EE-1B98-4322-AEB5-C9BF1E8A474D}"/>
          </ac:spMkLst>
        </pc:spChg>
        <pc:spChg chg="add mod replST">
          <ac:chgData name="Hesse, Thomas Dr." userId="661ed4e0-7782-4a1c-9bc8-dd191b47db53" providerId="ADAL" clId="{C7B830A9-0123-4835-A836-7B72F5B1B7D9}" dt="2024-06-06T06:26:23.699" v="11733" actId="20577"/>
          <ac:spMkLst>
            <pc:docMk/>
            <pc:sldMk cId="1346424527" sldId="1407"/>
            <ac:spMk id="12" creationId="{188A44A1-90B2-4719-B50D-B1923DD2398F}"/>
          </ac:spMkLst>
        </pc:spChg>
        <pc:spChg chg="add mod replST">
          <ac:chgData name="Hesse, Thomas Dr." userId="661ed4e0-7782-4a1c-9bc8-dd191b47db53" providerId="ADAL" clId="{C7B830A9-0123-4835-A836-7B72F5B1B7D9}" dt="2024-06-05T16:31:58.838" v="10922"/>
          <ac:spMkLst>
            <pc:docMk/>
            <pc:sldMk cId="1346424527" sldId="1407"/>
            <ac:spMk id="16" creationId="{F2184C5A-DA94-4008-81AA-34FDFCD6C478}"/>
          </ac:spMkLst>
        </pc:spChg>
        <pc:spChg chg="add mod replST">
          <ac:chgData name="Hesse, Thomas Dr." userId="661ed4e0-7782-4a1c-9bc8-dd191b47db53" providerId="ADAL" clId="{C7B830A9-0123-4835-A836-7B72F5B1B7D9}" dt="2024-06-05T16:31:58.838" v="10922"/>
          <ac:spMkLst>
            <pc:docMk/>
            <pc:sldMk cId="1346424527" sldId="1407"/>
            <ac:spMk id="17" creationId="{0FB473AD-EB04-417F-BAA5-CFA80CE721A4}"/>
          </ac:spMkLst>
        </pc:spChg>
        <pc:spChg chg="add mod replST">
          <ac:chgData name="Hesse, Thomas Dr." userId="661ed4e0-7782-4a1c-9bc8-dd191b47db53" providerId="ADAL" clId="{C7B830A9-0123-4835-A836-7B72F5B1B7D9}" dt="2024-06-06T06:26:23.702" v="11734" actId="20577"/>
          <ac:spMkLst>
            <pc:docMk/>
            <pc:sldMk cId="1346424527" sldId="1407"/>
            <ac:spMk id="18" creationId="{FC093E87-1577-48CA-AB00-5C075EC783E1}"/>
          </ac:spMkLst>
        </pc:spChg>
        <pc:spChg chg="add mod">
          <ac:chgData name="Hesse, Thomas Dr." userId="661ed4e0-7782-4a1c-9bc8-dd191b47db53" providerId="ADAL" clId="{C7B830A9-0123-4835-A836-7B72F5B1B7D9}" dt="2024-06-05T16:31:58.765" v="10837"/>
          <ac:spMkLst>
            <pc:docMk/>
            <pc:sldMk cId="1346424527" sldId="1407"/>
            <ac:spMk id="20" creationId="{DDFD1C8D-67FD-455B-9704-1CE16FFAA7A2}"/>
          </ac:spMkLst>
        </pc:spChg>
        <pc:spChg chg="add mod replST">
          <ac:chgData name="Hesse, Thomas Dr." userId="661ed4e0-7782-4a1c-9bc8-dd191b47db53" providerId="ADAL" clId="{C7B830A9-0123-4835-A836-7B72F5B1B7D9}" dt="2024-06-05T16:31:58.838" v="10922"/>
          <ac:spMkLst>
            <pc:docMk/>
            <pc:sldMk cId="1346424527" sldId="1407"/>
            <ac:spMk id="24" creationId="{B61CB580-DF8B-48AF-BCE7-BFEC15B6A502}"/>
          </ac:spMkLst>
        </pc:spChg>
        <pc:spChg chg="add mod replST">
          <ac:chgData name="Hesse, Thomas Dr." userId="661ed4e0-7782-4a1c-9bc8-dd191b47db53" providerId="ADAL" clId="{C7B830A9-0123-4835-A836-7B72F5B1B7D9}" dt="2024-06-05T16:31:58.838" v="10922"/>
          <ac:spMkLst>
            <pc:docMk/>
            <pc:sldMk cId="1346424527" sldId="1407"/>
            <ac:spMk id="25" creationId="{1E6469EE-1B98-4322-AEB5-C9BF1E8A474D}"/>
          </ac:spMkLst>
        </pc:spChg>
        <pc:spChg chg="add mod replST">
          <ac:chgData name="Hesse, Thomas Dr." userId="661ed4e0-7782-4a1c-9bc8-dd191b47db53" providerId="ADAL" clId="{C7B830A9-0123-4835-A836-7B72F5B1B7D9}" dt="2024-06-06T06:26:23.702" v="11735" actId="20577"/>
          <ac:spMkLst>
            <pc:docMk/>
            <pc:sldMk cId="1346424527" sldId="1407"/>
            <ac:spMk id="26" creationId="{188A44A1-90B2-4719-B50D-B1923DD2398F}"/>
          </ac:spMkLst>
        </pc:spChg>
        <pc:grpChg chg="add mod ord replST">
          <ac:chgData name="Hesse, Thomas Dr." userId="661ed4e0-7782-4a1c-9bc8-dd191b47db53" providerId="ADAL" clId="{C7B830A9-0123-4835-A836-7B72F5B1B7D9}" dt="2024-06-05T16:31:58.838" v="10922"/>
          <ac:grpSpMkLst>
            <pc:docMk/>
            <pc:sldMk cId="1346424527" sldId="1407"/>
            <ac:grpSpMk id="7" creationId="{F6C87C0E-1651-4964-8214-4B8A6FB75CB9}"/>
          </ac:grpSpMkLst>
        </pc:grpChg>
        <pc:grpChg chg="add mod ord replST">
          <ac:chgData name="Hesse, Thomas Dr." userId="661ed4e0-7782-4a1c-9bc8-dd191b47db53" providerId="ADAL" clId="{C7B830A9-0123-4835-A836-7B72F5B1B7D9}" dt="2024-06-05T16:31:58.838" v="10922"/>
          <ac:grpSpMkLst>
            <pc:docMk/>
            <pc:sldMk cId="1346424527" sldId="1407"/>
            <ac:grpSpMk id="13" creationId="{F6C87C0E-1651-4964-8214-4B8A6FB75CB9}"/>
          </ac:grpSpMkLst>
        </pc:grpChg>
        <pc:grpChg chg="add mod ord replST">
          <ac:chgData name="Hesse, Thomas Dr." userId="661ed4e0-7782-4a1c-9bc8-dd191b47db53" providerId="ADAL" clId="{C7B830A9-0123-4835-A836-7B72F5B1B7D9}" dt="2024-06-05T16:31:58.838" v="10922"/>
          <ac:grpSpMkLst>
            <pc:docMk/>
            <pc:sldMk cId="1346424527" sldId="1407"/>
            <ac:grpSpMk id="19" creationId="{1A8D0AF9-D849-489E-955F-E4F60B6BF84B}"/>
          </ac:grpSpMkLst>
        </pc:grpChg>
        <pc:grpChg chg="add mod ord replST">
          <ac:chgData name="Hesse, Thomas Dr." userId="661ed4e0-7782-4a1c-9bc8-dd191b47db53" providerId="ADAL" clId="{C7B830A9-0123-4835-A836-7B72F5B1B7D9}" dt="2024-06-05T16:31:58.838" v="10922"/>
          <ac:grpSpMkLst>
            <pc:docMk/>
            <pc:sldMk cId="1346424527" sldId="1407"/>
            <ac:grpSpMk id="28" creationId="{F6C87C0E-1651-4964-8214-4B8A6FB75CB9}"/>
          </ac:grpSpMkLst>
        </pc:grpChg>
        <pc:grpChg chg="add mod replST">
          <ac:chgData name="Hesse, Thomas Dr." userId="661ed4e0-7782-4a1c-9bc8-dd191b47db53" providerId="ADAL" clId="{C7B830A9-0123-4835-A836-7B72F5B1B7D9}" dt="2024-06-05T16:31:58.842" v="10940"/>
          <ac:grpSpMkLst>
            <pc:docMk/>
            <pc:sldMk cId="1346424527" sldId="1407"/>
            <ac:grpSpMk id="31" creationId="{95F7BC08-9059-5879-D187-39690ABEF7C0}"/>
          </ac:grpSpMkLst>
        </pc:grpChg>
        <pc:cxnChg chg="add mod">
          <ac:chgData name="Hesse, Thomas Dr." userId="661ed4e0-7782-4a1c-9bc8-dd191b47db53" providerId="ADAL" clId="{C7B830A9-0123-4835-A836-7B72F5B1B7D9}" dt="2024-06-05T16:31:58.625" v="10671"/>
          <ac:cxnSpMkLst>
            <pc:docMk/>
            <pc:sldMk cId="1346424527" sldId="1407"/>
            <ac:cxnSpMk id="8" creationId="{D17F1784-2691-4FE4-AF82-B768FFFD942A}"/>
          </ac:cxnSpMkLst>
        </pc:cxnChg>
        <pc:cxnChg chg="add mod">
          <ac:chgData name="Hesse, Thomas Dr." userId="661ed4e0-7782-4a1c-9bc8-dd191b47db53" providerId="ADAL" clId="{C7B830A9-0123-4835-A836-7B72F5B1B7D9}" dt="2024-06-05T16:31:58.625" v="10671"/>
          <ac:cxnSpMkLst>
            <pc:docMk/>
            <pc:sldMk cId="1346424527" sldId="1407"/>
            <ac:cxnSpMk id="9" creationId="{8A05B422-1F71-4726-B6E5-7BAA31B63A84}"/>
          </ac:cxnSpMkLst>
        </pc:cxnChg>
        <pc:cxnChg chg="add mod">
          <ac:chgData name="Hesse, Thomas Dr." userId="661ed4e0-7782-4a1c-9bc8-dd191b47db53" providerId="ADAL" clId="{C7B830A9-0123-4835-A836-7B72F5B1B7D9}" dt="2024-06-05T16:31:58.695" v="10753"/>
          <ac:cxnSpMkLst>
            <pc:docMk/>
            <pc:sldMk cId="1346424527" sldId="1407"/>
            <ac:cxnSpMk id="14" creationId="{D17F1784-2691-4FE4-AF82-B768FFFD942A}"/>
          </ac:cxnSpMkLst>
        </pc:cxnChg>
        <pc:cxnChg chg="add mod">
          <ac:chgData name="Hesse, Thomas Dr." userId="661ed4e0-7782-4a1c-9bc8-dd191b47db53" providerId="ADAL" clId="{C7B830A9-0123-4835-A836-7B72F5B1B7D9}" dt="2024-06-05T16:31:58.695" v="10753"/>
          <ac:cxnSpMkLst>
            <pc:docMk/>
            <pc:sldMk cId="1346424527" sldId="1407"/>
            <ac:cxnSpMk id="15" creationId="{8A05B422-1F71-4726-B6E5-7BAA31B63A84}"/>
          </ac:cxnSpMkLst>
        </pc:cxnChg>
        <pc:cxnChg chg="add mod">
          <ac:chgData name="Hesse, Thomas Dr." userId="661ed4e0-7782-4a1c-9bc8-dd191b47db53" providerId="ADAL" clId="{C7B830A9-0123-4835-A836-7B72F5B1B7D9}" dt="2024-06-05T16:31:58.765" v="10837"/>
          <ac:cxnSpMkLst>
            <pc:docMk/>
            <pc:sldMk cId="1346424527" sldId="1407"/>
            <ac:cxnSpMk id="21" creationId="{2FE8F699-9CAD-48EA-B487-78EB1D3307A8}"/>
          </ac:cxnSpMkLst>
        </pc:cxnChg>
        <pc:cxnChg chg="add mod">
          <ac:chgData name="Hesse, Thomas Dr." userId="661ed4e0-7782-4a1c-9bc8-dd191b47db53" providerId="ADAL" clId="{C7B830A9-0123-4835-A836-7B72F5B1B7D9}" dt="2024-06-05T16:31:58.765" v="10837"/>
          <ac:cxnSpMkLst>
            <pc:docMk/>
            <pc:sldMk cId="1346424527" sldId="1407"/>
            <ac:cxnSpMk id="22" creationId="{5E5E54F6-1EA0-4CBA-8FD9-A9BE679583B4}"/>
          </ac:cxnSpMkLst>
        </pc:cxnChg>
        <pc:cxnChg chg="add mod">
          <ac:chgData name="Hesse, Thomas Dr." userId="661ed4e0-7782-4a1c-9bc8-dd191b47db53" providerId="ADAL" clId="{C7B830A9-0123-4835-A836-7B72F5B1B7D9}" dt="2024-06-05T16:31:58.836" v="10919"/>
          <ac:cxnSpMkLst>
            <pc:docMk/>
            <pc:sldMk cId="1346424527" sldId="1407"/>
            <ac:cxnSpMk id="29" creationId="{D17F1784-2691-4FE4-AF82-B768FFFD942A}"/>
          </ac:cxnSpMkLst>
        </pc:cxnChg>
        <pc:cxnChg chg="add mod">
          <ac:chgData name="Hesse, Thomas Dr." userId="661ed4e0-7782-4a1c-9bc8-dd191b47db53" providerId="ADAL" clId="{C7B830A9-0123-4835-A836-7B72F5B1B7D9}" dt="2024-06-05T16:31:58.836" v="10919"/>
          <ac:cxnSpMkLst>
            <pc:docMk/>
            <pc:sldMk cId="1346424527" sldId="1407"/>
            <ac:cxnSpMk id="30" creationId="{8A05B422-1F71-4726-B6E5-7BAA31B63A84}"/>
          </ac:cxnSpMkLst>
        </pc:cxnChg>
      </pc:sldChg>
      <pc:sldChg chg="addSp modSp add mod ord">
        <pc:chgData name="Hesse, Thomas Dr." userId="661ed4e0-7782-4a1c-9bc8-dd191b47db53" providerId="ADAL" clId="{C7B830A9-0123-4835-A836-7B72F5B1B7D9}" dt="2024-06-06T06:26:23.705" v="11739" actId="20577"/>
        <pc:sldMkLst>
          <pc:docMk/>
          <pc:sldMk cId="364588684" sldId="1408"/>
        </pc:sldMkLst>
        <pc:spChg chg="add mod replST">
          <ac:chgData name="Hesse, Thomas Dr." userId="661ed4e0-7782-4a1c-9bc8-dd191b47db53" providerId="ADAL" clId="{C7B830A9-0123-4835-A836-7B72F5B1B7D9}" dt="2024-06-05T16:31:59.149" v="11275"/>
          <ac:spMkLst>
            <pc:docMk/>
            <pc:sldMk cId="364588684" sldId="1408"/>
            <ac:spMk id="2" creationId="{B61CB580-DF8B-48AF-BCE7-BFEC15B6A502}"/>
          </ac:spMkLst>
        </pc:spChg>
        <pc:spChg chg="add mod replST">
          <ac:chgData name="Hesse, Thomas Dr." userId="661ed4e0-7782-4a1c-9bc8-dd191b47db53" providerId="ADAL" clId="{C7B830A9-0123-4835-A836-7B72F5B1B7D9}" dt="2024-06-05T16:31:59.149" v="11275"/>
          <ac:spMkLst>
            <pc:docMk/>
            <pc:sldMk cId="364588684" sldId="1408"/>
            <ac:spMk id="4" creationId="{1E6469EE-1B98-4322-AEB5-C9BF1E8A474D}"/>
          </ac:spMkLst>
        </pc:spChg>
        <pc:spChg chg="mod ord replST">
          <ac:chgData name="Hesse, Thomas Dr." userId="661ed4e0-7782-4a1c-9bc8-dd191b47db53" providerId="ADAL" clId="{C7B830A9-0123-4835-A836-7B72F5B1B7D9}" dt="2024-06-05T16:31:59.154" v="11295"/>
          <ac:spMkLst>
            <pc:docMk/>
            <pc:sldMk cId="364588684" sldId="1408"/>
            <ac:spMk id="5" creationId="{DF59139C-523E-7153-7B45-40433BF55885}"/>
          </ac:spMkLst>
        </pc:spChg>
        <pc:spChg chg="add mod replST">
          <ac:chgData name="Hesse, Thomas Dr." userId="661ed4e0-7782-4a1c-9bc8-dd191b47db53" providerId="ADAL" clId="{C7B830A9-0123-4835-A836-7B72F5B1B7D9}" dt="2024-06-06T06:26:23.703" v="11736" actId="20577"/>
          <ac:spMkLst>
            <pc:docMk/>
            <pc:sldMk cId="364588684" sldId="1408"/>
            <ac:spMk id="6" creationId="{188A44A1-90B2-4719-B50D-B1923DD2398F}"/>
          </ac:spMkLst>
        </pc:spChg>
        <pc:spChg chg="add mod replST">
          <ac:chgData name="Hesse, Thomas Dr." userId="661ed4e0-7782-4a1c-9bc8-dd191b47db53" providerId="ADAL" clId="{C7B830A9-0123-4835-A836-7B72F5B1B7D9}" dt="2024-06-05T16:31:59.149" v="11275"/>
          <ac:spMkLst>
            <pc:docMk/>
            <pc:sldMk cId="364588684" sldId="1408"/>
            <ac:spMk id="10" creationId="{B61CB580-DF8B-48AF-BCE7-BFEC15B6A502}"/>
          </ac:spMkLst>
        </pc:spChg>
        <pc:spChg chg="add mod replST">
          <ac:chgData name="Hesse, Thomas Dr." userId="661ed4e0-7782-4a1c-9bc8-dd191b47db53" providerId="ADAL" clId="{C7B830A9-0123-4835-A836-7B72F5B1B7D9}" dt="2024-06-05T16:31:59.149" v="11275"/>
          <ac:spMkLst>
            <pc:docMk/>
            <pc:sldMk cId="364588684" sldId="1408"/>
            <ac:spMk id="11" creationId="{1E6469EE-1B98-4322-AEB5-C9BF1E8A474D}"/>
          </ac:spMkLst>
        </pc:spChg>
        <pc:spChg chg="add mod replST">
          <ac:chgData name="Hesse, Thomas Dr." userId="661ed4e0-7782-4a1c-9bc8-dd191b47db53" providerId="ADAL" clId="{C7B830A9-0123-4835-A836-7B72F5B1B7D9}" dt="2024-06-06T06:26:23.704" v="11737" actId="20577"/>
          <ac:spMkLst>
            <pc:docMk/>
            <pc:sldMk cId="364588684" sldId="1408"/>
            <ac:spMk id="12" creationId="{188A44A1-90B2-4719-B50D-B1923DD2398F}"/>
          </ac:spMkLst>
        </pc:spChg>
        <pc:spChg chg="add mod replST">
          <ac:chgData name="Hesse, Thomas Dr." userId="661ed4e0-7782-4a1c-9bc8-dd191b47db53" providerId="ADAL" clId="{C7B830A9-0123-4835-A836-7B72F5B1B7D9}" dt="2024-06-05T16:31:59.149" v="11275"/>
          <ac:spMkLst>
            <pc:docMk/>
            <pc:sldMk cId="364588684" sldId="1408"/>
            <ac:spMk id="16" creationId="{B61CB580-DF8B-48AF-BCE7-BFEC15B6A502}"/>
          </ac:spMkLst>
        </pc:spChg>
        <pc:spChg chg="add mod replST">
          <ac:chgData name="Hesse, Thomas Dr." userId="661ed4e0-7782-4a1c-9bc8-dd191b47db53" providerId="ADAL" clId="{C7B830A9-0123-4835-A836-7B72F5B1B7D9}" dt="2024-06-05T16:31:59.149" v="11275"/>
          <ac:spMkLst>
            <pc:docMk/>
            <pc:sldMk cId="364588684" sldId="1408"/>
            <ac:spMk id="17" creationId="{1E6469EE-1B98-4322-AEB5-C9BF1E8A474D}"/>
          </ac:spMkLst>
        </pc:spChg>
        <pc:spChg chg="add mod replST">
          <ac:chgData name="Hesse, Thomas Dr." userId="661ed4e0-7782-4a1c-9bc8-dd191b47db53" providerId="ADAL" clId="{C7B830A9-0123-4835-A836-7B72F5B1B7D9}" dt="2024-06-06T06:26:23.705" v="11738" actId="20577"/>
          <ac:spMkLst>
            <pc:docMk/>
            <pc:sldMk cId="364588684" sldId="1408"/>
            <ac:spMk id="18" creationId="{188A44A1-90B2-4719-B50D-B1923DD2398F}"/>
          </ac:spMkLst>
        </pc:spChg>
        <pc:spChg chg="add mod replST">
          <ac:chgData name="Hesse, Thomas Dr." userId="661ed4e0-7782-4a1c-9bc8-dd191b47db53" providerId="ADAL" clId="{C7B830A9-0123-4835-A836-7B72F5B1B7D9}" dt="2024-06-05T16:31:59.149" v="11275"/>
          <ac:spMkLst>
            <pc:docMk/>
            <pc:sldMk cId="364588684" sldId="1408"/>
            <ac:spMk id="22" creationId="{F2184C5A-DA94-4008-81AA-34FDFCD6C478}"/>
          </ac:spMkLst>
        </pc:spChg>
        <pc:spChg chg="add mod replST">
          <ac:chgData name="Hesse, Thomas Dr." userId="661ed4e0-7782-4a1c-9bc8-dd191b47db53" providerId="ADAL" clId="{C7B830A9-0123-4835-A836-7B72F5B1B7D9}" dt="2024-06-05T16:31:59.149" v="11275"/>
          <ac:spMkLst>
            <pc:docMk/>
            <pc:sldMk cId="364588684" sldId="1408"/>
            <ac:spMk id="24" creationId="{0FB473AD-EB04-417F-BAA5-CFA80CE721A4}"/>
          </ac:spMkLst>
        </pc:spChg>
        <pc:spChg chg="add mod replST">
          <ac:chgData name="Hesse, Thomas Dr." userId="661ed4e0-7782-4a1c-9bc8-dd191b47db53" providerId="ADAL" clId="{C7B830A9-0123-4835-A836-7B72F5B1B7D9}" dt="2024-06-06T06:26:23.705" v="11739" actId="20577"/>
          <ac:spMkLst>
            <pc:docMk/>
            <pc:sldMk cId="364588684" sldId="1408"/>
            <ac:spMk id="25" creationId="{FC093E87-1577-48CA-AB00-5C075EC783E1}"/>
          </ac:spMkLst>
        </pc:spChg>
        <pc:spChg chg="add mod">
          <ac:chgData name="Hesse, Thomas Dr." userId="661ed4e0-7782-4a1c-9bc8-dd191b47db53" providerId="ADAL" clId="{C7B830A9-0123-4835-A836-7B72F5B1B7D9}" dt="2024-06-05T16:31:59.147" v="11272"/>
          <ac:spMkLst>
            <pc:docMk/>
            <pc:sldMk cId="364588684" sldId="1408"/>
            <ac:spMk id="28" creationId="{DDFD1C8D-67FD-455B-9704-1CE16FFAA7A2}"/>
          </ac:spMkLst>
        </pc:spChg>
        <pc:grpChg chg="add mod ord replST">
          <ac:chgData name="Hesse, Thomas Dr." userId="661ed4e0-7782-4a1c-9bc8-dd191b47db53" providerId="ADAL" clId="{C7B830A9-0123-4835-A836-7B72F5B1B7D9}" dt="2024-06-05T16:31:59.149" v="11275"/>
          <ac:grpSpMkLst>
            <pc:docMk/>
            <pc:sldMk cId="364588684" sldId="1408"/>
            <ac:grpSpMk id="7" creationId="{F6C87C0E-1651-4964-8214-4B8A6FB75CB9}"/>
          </ac:grpSpMkLst>
        </pc:grpChg>
        <pc:grpChg chg="add mod ord replST">
          <ac:chgData name="Hesse, Thomas Dr." userId="661ed4e0-7782-4a1c-9bc8-dd191b47db53" providerId="ADAL" clId="{C7B830A9-0123-4835-A836-7B72F5B1B7D9}" dt="2024-06-05T16:31:59.149" v="11275"/>
          <ac:grpSpMkLst>
            <pc:docMk/>
            <pc:sldMk cId="364588684" sldId="1408"/>
            <ac:grpSpMk id="13" creationId="{F6C87C0E-1651-4964-8214-4B8A6FB75CB9}"/>
          </ac:grpSpMkLst>
        </pc:grpChg>
        <pc:grpChg chg="add mod ord replST">
          <ac:chgData name="Hesse, Thomas Dr." userId="661ed4e0-7782-4a1c-9bc8-dd191b47db53" providerId="ADAL" clId="{C7B830A9-0123-4835-A836-7B72F5B1B7D9}" dt="2024-06-05T16:31:59.149" v="11275"/>
          <ac:grpSpMkLst>
            <pc:docMk/>
            <pc:sldMk cId="364588684" sldId="1408"/>
            <ac:grpSpMk id="19" creationId="{F6C87C0E-1651-4964-8214-4B8A6FB75CB9}"/>
          </ac:grpSpMkLst>
        </pc:grpChg>
        <pc:grpChg chg="add mod ord replST">
          <ac:chgData name="Hesse, Thomas Dr." userId="661ed4e0-7782-4a1c-9bc8-dd191b47db53" providerId="ADAL" clId="{C7B830A9-0123-4835-A836-7B72F5B1B7D9}" dt="2024-06-05T16:31:59.149" v="11275"/>
          <ac:grpSpMkLst>
            <pc:docMk/>
            <pc:sldMk cId="364588684" sldId="1408"/>
            <ac:grpSpMk id="26" creationId="{1A8D0AF9-D849-489E-955F-E4F60B6BF84B}"/>
          </ac:grpSpMkLst>
        </pc:grpChg>
        <pc:grpChg chg="add mod replST">
          <ac:chgData name="Hesse, Thomas Dr." userId="661ed4e0-7782-4a1c-9bc8-dd191b47db53" providerId="ADAL" clId="{C7B830A9-0123-4835-A836-7B72F5B1B7D9}" dt="2024-06-05T16:31:59.153" v="11293"/>
          <ac:grpSpMkLst>
            <pc:docMk/>
            <pc:sldMk cId="364588684" sldId="1408"/>
            <ac:grpSpMk id="31" creationId="{6FE3CDB7-33B3-E9F2-52A1-B4575C397605}"/>
          </ac:grpSpMkLst>
        </pc:grpChg>
        <pc:cxnChg chg="add mod">
          <ac:chgData name="Hesse, Thomas Dr." userId="661ed4e0-7782-4a1c-9bc8-dd191b47db53" providerId="ADAL" clId="{C7B830A9-0123-4835-A836-7B72F5B1B7D9}" dt="2024-06-05T16:31:58.930" v="11024"/>
          <ac:cxnSpMkLst>
            <pc:docMk/>
            <pc:sldMk cId="364588684" sldId="1408"/>
            <ac:cxnSpMk id="8" creationId="{D17F1784-2691-4FE4-AF82-B768FFFD942A}"/>
          </ac:cxnSpMkLst>
        </pc:cxnChg>
        <pc:cxnChg chg="add mod">
          <ac:chgData name="Hesse, Thomas Dr." userId="661ed4e0-7782-4a1c-9bc8-dd191b47db53" providerId="ADAL" clId="{C7B830A9-0123-4835-A836-7B72F5B1B7D9}" dt="2024-06-05T16:31:58.930" v="11024"/>
          <ac:cxnSpMkLst>
            <pc:docMk/>
            <pc:sldMk cId="364588684" sldId="1408"/>
            <ac:cxnSpMk id="9" creationId="{8A05B422-1F71-4726-B6E5-7BAA31B63A84}"/>
          </ac:cxnSpMkLst>
        </pc:cxnChg>
        <pc:cxnChg chg="add mod">
          <ac:chgData name="Hesse, Thomas Dr." userId="661ed4e0-7782-4a1c-9bc8-dd191b47db53" providerId="ADAL" clId="{C7B830A9-0123-4835-A836-7B72F5B1B7D9}" dt="2024-06-05T16:31:59" v="11106"/>
          <ac:cxnSpMkLst>
            <pc:docMk/>
            <pc:sldMk cId="364588684" sldId="1408"/>
            <ac:cxnSpMk id="14" creationId="{D17F1784-2691-4FE4-AF82-B768FFFD942A}"/>
          </ac:cxnSpMkLst>
        </pc:cxnChg>
        <pc:cxnChg chg="add mod">
          <ac:chgData name="Hesse, Thomas Dr." userId="661ed4e0-7782-4a1c-9bc8-dd191b47db53" providerId="ADAL" clId="{C7B830A9-0123-4835-A836-7B72F5B1B7D9}" dt="2024-06-05T16:31:59" v="11106"/>
          <ac:cxnSpMkLst>
            <pc:docMk/>
            <pc:sldMk cId="364588684" sldId="1408"/>
            <ac:cxnSpMk id="15" creationId="{8A05B422-1F71-4726-B6E5-7BAA31B63A84}"/>
          </ac:cxnSpMkLst>
        </pc:cxnChg>
        <pc:cxnChg chg="add mod">
          <ac:chgData name="Hesse, Thomas Dr." userId="661ed4e0-7782-4a1c-9bc8-dd191b47db53" providerId="ADAL" clId="{C7B830A9-0123-4835-A836-7B72F5B1B7D9}" dt="2024-06-05T16:31:59.074" v="11188"/>
          <ac:cxnSpMkLst>
            <pc:docMk/>
            <pc:sldMk cId="364588684" sldId="1408"/>
            <ac:cxnSpMk id="20" creationId="{D17F1784-2691-4FE4-AF82-B768FFFD942A}"/>
          </ac:cxnSpMkLst>
        </pc:cxnChg>
        <pc:cxnChg chg="add mod">
          <ac:chgData name="Hesse, Thomas Dr." userId="661ed4e0-7782-4a1c-9bc8-dd191b47db53" providerId="ADAL" clId="{C7B830A9-0123-4835-A836-7B72F5B1B7D9}" dt="2024-06-05T16:31:59.074" v="11188"/>
          <ac:cxnSpMkLst>
            <pc:docMk/>
            <pc:sldMk cId="364588684" sldId="1408"/>
            <ac:cxnSpMk id="21" creationId="{8A05B422-1F71-4726-B6E5-7BAA31B63A84}"/>
          </ac:cxnSpMkLst>
        </pc:cxnChg>
        <pc:cxnChg chg="add mod">
          <ac:chgData name="Hesse, Thomas Dr." userId="661ed4e0-7782-4a1c-9bc8-dd191b47db53" providerId="ADAL" clId="{C7B830A9-0123-4835-A836-7B72F5B1B7D9}" dt="2024-06-05T16:31:59.147" v="11272"/>
          <ac:cxnSpMkLst>
            <pc:docMk/>
            <pc:sldMk cId="364588684" sldId="1408"/>
            <ac:cxnSpMk id="29" creationId="{2FE8F699-9CAD-48EA-B487-78EB1D3307A8}"/>
          </ac:cxnSpMkLst>
        </pc:cxnChg>
        <pc:cxnChg chg="add mod">
          <ac:chgData name="Hesse, Thomas Dr." userId="661ed4e0-7782-4a1c-9bc8-dd191b47db53" providerId="ADAL" clId="{C7B830A9-0123-4835-A836-7B72F5B1B7D9}" dt="2024-06-05T16:31:59.147" v="11272"/>
          <ac:cxnSpMkLst>
            <pc:docMk/>
            <pc:sldMk cId="364588684" sldId="1408"/>
            <ac:cxnSpMk id="30" creationId="{5E5E54F6-1EA0-4CBA-8FD9-A9BE679583B4}"/>
          </ac:cxnSpMkLst>
        </pc:cxnChg>
      </pc:sldChg>
      <pc:sldChg chg="add">
        <pc:chgData name="Hesse, Thomas Dr." userId="661ed4e0-7782-4a1c-9bc8-dd191b47db53" providerId="ADAL" clId="{C7B830A9-0123-4835-A836-7B72F5B1B7D9}" dt="2024-06-05T16:32:26.481" v="11352"/>
        <pc:sldMkLst>
          <pc:docMk/>
          <pc:sldMk cId="448281128" sldId="1409"/>
        </pc:sldMkLst>
      </pc:sldChg>
      <pc:sldChg chg="add">
        <pc:chgData name="Hesse, Thomas Dr." userId="661ed4e0-7782-4a1c-9bc8-dd191b47db53" providerId="ADAL" clId="{C7B830A9-0123-4835-A836-7B72F5B1B7D9}" dt="2024-06-05T16:32:26.481" v="11352"/>
        <pc:sldMkLst>
          <pc:docMk/>
          <pc:sldMk cId="1257959648" sldId="1410"/>
        </pc:sldMkLst>
      </pc:sldChg>
      <pc:sldChg chg="addSp delSp modSp add mod">
        <pc:chgData name="Hesse, Thomas Dr." userId="661ed4e0-7782-4a1c-9bc8-dd191b47db53" providerId="ADAL" clId="{C7B830A9-0123-4835-A836-7B72F5B1B7D9}" dt="2024-06-06T07:43:01.913" v="12104" actId="732"/>
        <pc:sldMkLst>
          <pc:docMk/>
          <pc:sldMk cId="943159614" sldId="1411"/>
        </pc:sldMkLst>
        <pc:spChg chg="add mod replST">
          <ac:chgData name="Hesse, Thomas Dr." userId="661ed4e0-7782-4a1c-9bc8-dd191b47db53" providerId="ADAL" clId="{C7B830A9-0123-4835-A836-7B72F5B1B7D9}" dt="2024-06-06T07:41:06.355" v="12024" actId="1076"/>
          <ac:spMkLst>
            <pc:docMk/>
            <pc:sldMk cId="943159614" sldId="1411"/>
            <ac:spMk id="3" creationId="{A3954A73-08AD-4E7D-6D6A-00D7F13F2F95}"/>
          </ac:spMkLst>
        </pc:spChg>
        <pc:spChg chg="add mod replST">
          <ac:chgData name="Hesse, Thomas Dr." userId="661ed4e0-7782-4a1c-9bc8-dd191b47db53" providerId="ADAL" clId="{C7B830A9-0123-4835-A836-7B72F5B1B7D9}" dt="2024-06-06T07:41:09.736" v="12036" actId="1037"/>
          <ac:spMkLst>
            <pc:docMk/>
            <pc:sldMk cId="943159614" sldId="1411"/>
            <ac:spMk id="5" creationId="{2D17D040-BEFB-AE32-233E-F19935ACC233}"/>
          </ac:spMkLst>
        </pc:spChg>
        <pc:spChg chg="mod">
          <ac:chgData name="Hesse, Thomas Dr." userId="661ed4e0-7782-4a1c-9bc8-dd191b47db53" providerId="ADAL" clId="{C7B830A9-0123-4835-A836-7B72F5B1B7D9}" dt="2024-06-06T06:26:32.032" v="11751" actId="20577"/>
          <ac:spMkLst>
            <pc:docMk/>
            <pc:sldMk cId="943159614" sldId="1411"/>
            <ac:spMk id="9" creationId="{1CF653FB-3CD7-42B7-B8D0-DC30DD14EE37}"/>
          </ac:spMkLst>
        </pc:spChg>
        <pc:spChg chg="add mod replST">
          <ac:chgData name="Hesse, Thomas Dr." userId="661ed4e0-7782-4a1c-9bc8-dd191b47db53" providerId="ADAL" clId="{C7B830A9-0123-4835-A836-7B72F5B1B7D9}" dt="2024-06-06T07:41:15.163" v="12050" actId="1037"/>
          <ac:spMkLst>
            <pc:docMk/>
            <pc:sldMk cId="943159614" sldId="1411"/>
            <ac:spMk id="15" creationId="{E4809C5D-1687-F4B1-BA13-F454DAC329DE}"/>
          </ac:spMkLst>
        </pc:spChg>
        <pc:spChg chg="add mod replST">
          <ac:chgData name="Hesse, Thomas Dr." userId="661ed4e0-7782-4a1c-9bc8-dd191b47db53" providerId="ADAL" clId="{C7B830A9-0123-4835-A836-7B72F5B1B7D9}" dt="2024-06-06T07:41:20.201" v="12066" actId="1037"/>
          <ac:spMkLst>
            <pc:docMk/>
            <pc:sldMk cId="943159614" sldId="1411"/>
            <ac:spMk id="18" creationId="{0816D134-FA9A-6804-DBB5-2CAB492BDC84}"/>
          </ac:spMkLst>
        </pc:spChg>
        <pc:picChg chg="add mod modCrop">
          <ac:chgData name="Hesse, Thomas Dr." userId="661ed4e0-7782-4a1c-9bc8-dd191b47db53" providerId="ADAL" clId="{C7B830A9-0123-4835-A836-7B72F5B1B7D9}" dt="2024-06-06T07:43:01.913" v="12104" actId="732"/>
          <ac:picMkLst>
            <pc:docMk/>
            <pc:sldMk cId="943159614" sldId="1411"/>
            <ac:picMk id="7" creationId="{DFDE148C-F974-F0DC-4E9F-B0AF70E3C771}"/>
          </ac:picMkLst>
        </pc:picChg>
        <pc:picChg chg="del">
          <ac:chgData name="Hesse, Thomas Dr." userId="661ed4e0-7782-4a1c-9bc8-dd191b47db53" providerId="ADAL" clId="{C7B830A9-0123-4835-A836-7B72F5B1B7D9}" dt="2024-06-06T06:26:35.101" v="11752" actId="478"/>
          <ac:picMkLst>
            <pc:docMk/>
            <pc:sldMk cId="943159614" sldId="1411"/>
            <ac:picMk id="10" creationId="{C2090546-8A1D-EDB1-ED9B-17E33ACF1ABA}"/>
          </ac:picMkLst>
        </pc:picChg>
        <pc:picChg chg="add mod">
          <ac:chgData name="Hesse, Thomas Dr." userId="661ed4e0-7782-4a1c-9bc8-dd191b47db53" providerId="ADAL" clId="{C7B830A9-0123-4835-A836-7B72F5B1B7D9}" dt="2024-06-06T07:42:50.193" v="12103" actId="1035"/>
          <ac:picMkLst>
            <pc:docMk/>
            <pc:sldMk cId="943159614" sldId="1411"/>
            <ac:picMk id="11" creationId="{6A2CC267-F4A0-F98E-F96A-F7673211CD36}"/>
          </ac:picMkLst>
        </pc:picChg>
        <pc:picChg chg="del">
          <ac:chgData name="Hesse, Thomas Dr." userId="661ed4e0-7782-4a1c-9bc8-dd191b47db53" providerId="ADAL" clId="{C7B830A9-0123-4835-A836-7B72F5B1B7D9}" dt="2024-06-06T06:26:36.767" v="11753" actId="478"/>
          <ac:picMkLst>
            <pc:docMk/>
            <pc:sldMk cId="943159614" sldId="1411"/>
            <ac:picMk id="12" creationId="{4DC90876-1A9F-8549-3160-5D989567D832}"/>
          </ac:picMkLst>
        </pc:picChg>
        <pc:picChg chg="add mod">
          <ac:chgData name="Hesse, Thomas Dr." userId="661ed4e0-7782-4a1c-9bc8-dd191b47db53" providerId="ADAL" clId="{C7B830A9-0123-4835-A836-7B72F5B1B7D9}" dt="2024-06-06T07:41:09.736" v="12036" actId="1037"/>
          <ac:picMkLst>
            <pc:docMk/>
            <pc:sldMk cId="943159614" sldId="1411"/>
            <ac:picMk id="14" creationId="{ACD56346-1382-6622-F35C-62058F1FDB6C}"/>
          </ac:picMkLst>
        </pc:picChg>
        <pc:picChg chg="add mod">
          <ac:chgData name="Hesse, Thomas Dr." userId="661ed4e0-7782-4a1c-9bc8-dd191b47db53" providerId="ADAL" clId="{C7B830A9-0123-4835-A836-7B72F5B1B7D9}" dt="2024-06-06T07:41:35.992" v="12067" actId="1076"/>
          <ac:picMkLst>
            <pc:docMk/>
            <pc:sldMk cId="943159614" sldId="1411"/>
            <ac:picMk id="17" creationId="{04018FE7-D952-D6B6-FE81-0F8B77850DB2}"/>
          </ac:picMkLst>
        </pc:picChg>
        <pc:picChg chg="add mod">
          <ac:chgData name="Hesse, Thomas Dr." userId="661ed4e0-7782-4a1c-9bc8-dd191b47db53" providerId="ADAL" clId="{C7B830A9-0123-4835-A836-7B72F5B1B7D9}" dt="2024-06-06T07:41:42.986" v="12068" actId="1076"/>
          <ac:picMkLst>
            <pc:docMk/>
            <pc:sldMk cId="943159614" sldId="1411"/>
            <ac:picMk id="20" creationId="{89E17EBA-BBAD-0480-2E10-3C27BDEA3AE8}"/>
          </ac:picMkLst>
        </pc:picChg>
        <pc:picChg chg="add mod modCrop">
          <ac:chgData name="Hesse, Thomas Dr." userId="661ed4e0-7782-4a1c-9bc8-dd191b47db53" providerId="ADAL" clId="{C7B830A9-0123-4835-A836-7B72F5B1B7D9}" dt="2024-06-06T07:42:31.961" v="12084" actId="732"/>
          <ac:picMkLst>
            <pc:docMk/>
            <pc:sldMk cId="943159614" sldId="1411"/>
            <ac:picMk id="22" creationId="{19592FF0-12FA-4E17-2EB5-8314311775E9}"/>
          </ac:picMkLst>
        </pc:picChg>
        <pc:picChg chg="add mod modCrop">
          <ac:chgData name="Hesse, Thomas Dr." userId="661ed4e0-7782-4a1c-9bc8-dd191b47db53" providerId="ADAL" clId="{C7B830A9-0123-4835-A836-7B72F5B1B7D9}" dt="2024-06-06T07:42:41.970" v="12087" actId="1035"/>
          <ac:picMkLst>
            <pc:docMk/>
            <pc:sldMk cId="943159614" sldId="1411"/>
            <ac:picMk id="23" creationId="{51685D6D-5B15-A587-AA83-199158D81866}"/>
          </ac:picMkLst>
        </pc:picChg>
      </pc:sldChg>
      <pc:sldMasterChg chg="modSp mod modSldLayout">
        <pc:chgData name="Hesse, Thomas Dr." userId="661ed4e0-7782-4a1c-9bc8-dd191b47db53" providerId="ADAL" clId="{C7B830A9-0123-4835-A836-7B72F5B1B7D9}" dt="2024-06-05T13:26:28.072" v="6428" actId="313"/>
        <pc:sldMasterMkLst>
          <pc:docMk/>
          <pc:sldMasterMk cId="344016572" sldId="2147483648"/>
        </pc:sldMasterMkLst>
        <pc:spChg chg="mod">
          <ac:chgData name="Hesse, Thomas Dr." userId="661ed4e0-7782-4a1c-9bc8-dd191b47db53" providerId="ADAL" clId="{C7B830A9-0123-4835-A836-7B72F5B1B7D9}" dt="2024-06-05T13:26:11.393" v="6401" actId="313"/>
          <ac:spMkLst>
            <pc:docMk/>
            <pc:sldMasterMk cId="344016572" sldId="2147483648"/>
            <ac:spMk id="5" creationId="{D2E0BB04-46A4-464C-9A41-A9A0692FF120}"/>
          </ac:spMkLst>
        </pc:spChg>
        <pc:sldLayoutChg chg="modSp mod">
          <pc:chgData name="Hesse, Thomas Dr." userId="661ed4e0-7782-4a1c-9bc8-dd191b47db53" providerId="ADAL" clId="{C7B830A9-0123-4835-A836-7B72F5B1B7D9}" dt="2024-06-05T13:26:20.170" v="6414" actId="313"/>
          <pc:sldLayoutMkLst>
            <pc:docMk/>
            <pc:sldMasterMk cId="344016572" sldId="2147483648"/>
            <pc:sldLayoutMk cId="3938394686" sldId="2147483650"/>
          </pc:sldLayoutMkLst>
          <pc:spChg chg="mod">
            <ac:chgData name="Hesse, Thomas Dr." userId="661ed4e0-7782-4a1c-9bc8-dd191b47db53" providerId="ADAL" clId="{C7B830A9-0123-4835-A836-7B72F5B1B7D9}" dt="2024-06-05T13:26:20.170" v="6414" actId="313"/>
            <ac:spMkLst>
              <pc:docMk/>
              <pc:sldMasterMk cId="344016572" sldId="2147483648"/>
              <pc:sldLayoutMk cId="3938394686" sldId="2147483650"/>
              <ac:spMk id="5" creationId="{E85587E9-3B31-4BBA-9208-9968E0312626}"/>
            </ac:spMkLst>
          </pc:spChg>
        </pc:sldLayoutChg>
        <pc:sldLayoutChg chg="modSp mod">
          <pc:chgData name="Hesse, Thomas Dr." userId="661ed4e0-7782-4a1c-9bc8-dd191b47db53" providerId="ADAL" clId="{C7B830A9-0123-4835-A836-7B72F5B1B7D9}" dt="2024-06-05T13:26:19.074" v="6412" actId="313"/>
          <pc:sldLayoutMkLst>
            <pc:docMk/>
            <pc:sldMasterMk cId="344016572" sldId="2147483648"/>
            <pc:sldLayoutMk cId="3367267801" sldId="2147483651"/>
          </pc:sldLayoutMkLst>
          <pc:spChg chg="mod">
            <ac:chgData name="Hesse, Thomas Dr." userId="661ed4e0-7782-4a1c-9bc8-dd191b47db53" providerId="ADAL" clId="{C7B830A9-0123-4835-A836-7B72F5B1B7D9}" dt="2024-06-05T13:26:19.074" v="6412" actId="313"/>
            <ac:spMkLst>
              <pc:docMk/>
              <pc:sldMasterMk cId="344016572" sldId="2147483648"/>
              <pc:sldLayoutMk cId="3367267801" sldId="2147483651"/>
              <ac:spMk id="5" creationId="{D156B0D9-175F-4D3C-AD38-24B1C4643E7E}"/>
            </ac:spMkLst>
          </pc:spChg>
        </pc:sldLayoutChg>
        <pc:sldLayoutChg chg="modSp mod">
          <pc:chgData name="Hesse, Thomas Dr." userId="661ed4e0-7782-4a1c-9bc8-dd191b47db53" providerId="ADAL" clId="{C7B830A9-0123-4835-A836-7B72F5B1B7D9}" dt="2024-06-05T13:26:15.449" v="6406" actId="313"/>
          <pc:sldLayoutMkLst>
            <pc:docMk/>
            <pc:sldMasterMk cId="344016572" sldId="2147483648"/>
            <pc:sldLayoutMk cId="1031010690" sldId="2147483654"/>
          </pc:sldLayoutMkLst>
          <pc:spChg chg="mod">
            <ac:chgData name="Hesse, Thomas Dr." userId="661ed4e0-7782-4a1c-9bc8-dd191b47db53" providerId="ADAL" clId="{C7B830A9-0123-4835-A836-7B72F5B1B7D9}" dt="2024-06-05T13:26:15.449" v="6406" actId="313"/>
            <ac:spMkLst>
              <pc:docMk/>
              <pc:sldMasterMk cId="344016572" sldId="2147483648"/>
              <pc:sldLayoutMk cId="1031010690" sldId="2147483654"/>
              <ac:spMk id="5" creationId="{2FE804F9-626A-46E9-9608-08B25EE71066}"/>
            </ac:spMkLst>
          </pc:spChg>
        </pc:sldLayoutChg>
        <pc:sldLayoutChg chg="modSp mod">
          <pc:chgData name="Hesse, Thomas Dr." userId="661ed4e0-7782-4a1c-9bc8-dd191b47db53" providerId="ADAL" clId="{C7B830A9-0123-4835-A836-7B72F5B1B7D9}" dt="2024-06-05T13:26:19.569" v="6413" actId="313"/>
          <pc:sldLayoutMkLst>
            <pc:docMk/>
            <pc:sldMasterMk cId="344016572" sldId="2147483648"/>
            <pc:sldLayoutMk cId="529598353" sldId="2147483655"/>
          </pc:sldLayoutMkLst>
          <pc:spChg chg="mod">
            <ac:chgData name="Hesse, Thomas Dr." userId="661ed4e0-7782-4a1c-9bc8-dd191b47db53" providerId="ADAL" clId="{C7B830A9-0123-4835-A836-7B72F5B1B7D9}" dt="2024-06-05T13:26:19.569" v="6413" actId="313"/>
            <ac:spMkLst>
              <pc:docMk/>
              <pc:sldMasterMk cId="344016572" sldId="2147483648"/>
              <pc:sldLayoutMk cId="529598353" sldId="2147483655"/>
              <ac:spMk id="5" creationId="{D156B0D9-175F-4D3C-AD38-24B1C4643E7E}"/>
            </ac:spMkLst>
          </pc:spChg>
        </pc:sldLayoutChg>
        <pc:sldLayoutChg chg="modSp mod">
          <pc:chgData name="Hesse, Thomas Dr." userId="661ed4e0-7782-4a1c-9bc8-dd191b47db53" providerId="ADAL" clId="{C7B830A9-0123-4835-A836-7B72F5B1B7D9}" dt="2024-06-05T13:26:16.154" v="6407" actId="313"/>
          <pc:sldLayoutMkLst>
            <pc:docMk/>
            <pc:sldMasterMk cId="344016572" sldId="2147483648"/>
            <pc:sldLayoutMk cId="694550208" sldId="2147483656"/>
          </pc:sldLayoutMkLst>
          <pc:spChg chg="mod">
            <ac:chgData name="Hesse, Thomas Dr." userId="661ed4e0-7782-4a1c-9bc8-dd191b47db53" providerId="ADAL" clId="{C7B830A9-0123-4835-A836-7B72F5B1B7D9}" dt="2024-06-05T13:26:16.154" v="6407" actId="313"/>
            <ac:spMkLst>
              <pc:docMk/>
              <pc:sldMasterMk cId="344016572" sldId="2147483648"/>
              <pc:sldLayoutMk cId="694550208" sldId="2147483656"/>
              <ac:spMk id="5" creationId="{D156B0D9-175F-4D3C-AD38-24B1C4643E7E}"/>
            </ac:spMkLst>
          </pc:spChg>
        </pc:sldLayoutChg>
        <pc:sldLayoutChg chg="modSp mod">
          <pc:chgData name="Hesse, Thomas Dr." userId="661ed4e0-7782-4a1c-9bc8-dd191b47db53" providerId="ADAL" clId="{C7B830A9-0123-4835-A836-7B72F5B1B7D9}" dt="2024-06-05T13:26:26.298" v="6425" actId="313"/>
          <pc:sldLayoutMkLst>
            <pc:docMk/>
            <pc:sldMasterMk cId="344016572" sldId="2147483648"/>
            <pc:sldLayoutMk cId="612121336" sldId="2147483661"/>
          </pc:sldLayoutMkLst>
          <pc:spChg chg="mod">
            <ac:chgData name="Hesse, Thomas Dr." userId="661ed4e0-7782-4a1c-9bc8-dd191b47db53" providerId="ADAL" clId="{C7B830A9-0123-4835-A836-7B72F5B1B7D9}" dt="2024-06-05T13:26:26.298" v="6425" actId="313"/>
            <ac:spMkLst>
              <pc:docMk/>
              <pc:sldMasterMk cId="344016572" sldId="2147483648"/>
              <pc:sldLayoutMk cId="612121336" sldId="2147483661"/>
              <ac:spMk id="4" creationId="{1FB1A0B7-E138-4F61-A505-E5364B0A470A}"/>
            </ac:spMkLst>
          </pc:spChg>
        </pc:sldLayoutChg>
        <pc:sldLayoutChg chg="modSp mod">
          <pc:chgData name="Hesse, Thomas Dr." userId="661ed4e0-7782-4a1c-9bc8-dd191b47db53" providerId="ADAL" clId="{C7B830A9-0123-4835-A836-7B72F5B1B7D9}" dt="2024-06-05T13:26:26.986" v="6426" actId="313"/>
          <pc:sldLayoutMkLst>
            <pc:docMk/>
            <pc:sldMasterMk cId="344016572" sldId="2147483648"/>
            <pc:sldLayoutMk cId="1641097011" sldId="2147483662"/>
          </pc:sldLayoutMkLst>
          <pc:spChg chg="mod">
            <ac:chgData name="Hesse, Thomas Dr." userId="661ed4e0-7782-4a1c-9bc8-dd191b47db53" providerId="ADAL" clId="{C7B830A9-0123-4835-A836-7B72F5B1B7D9}" dt="2024-06-05T13:26:26.986" v="6426" actId="313"/>
            <ac:spMkLst>
              <pc:docMk/>
              <pc:sldMasterMk cId="344016572" sldId="2147483648"/>
              <pc:sldLayoutMk cId="1641097011" sldId="2147483662"/>
              <ac:spMk id="4" creationId="{DA34A9FF-85A5-4AE6-9F3C-F4E9F2BFFE80}"/>
            </ac:spMkLst>
          </pc:spChg>
        </pc:sldLayoutChg>
        <pc:sldLayoutChg chg="modSp mod">
          <pc:chgData name="Hesse, Thomas Dr." userId="661ed4e0-7782-4a1c-9bc8-dd191b47db53" providerId="ADAL" clId="{C7B830A9-0123-4835-A836-7B72F5B1B7D9}" dt="2024-06-05T13:26:25.104" v="6423" actId="313"/>
          <pc:sldLayoutMkLst>
            <pc:docMk/>
            <pc:sldMasterMk cId="344016572" sldId="2147483648"/>
            <pc:sldLayoutMk cId="4272180520" sldId="2147483663"/>
          </pc:sldLayoutMkLst>
          <pc:spChg chg="mod">
            <ac:chgData name="Hesse, Thomas Dr." userId="661ed4e0-7782-4a1c-9bc8-dd191b47db53" providerId="ADAL" clId="{C7B830A9-0123-4835-A836-7B72F5B1B7D9}" dt="2024-06-05T13:26:25.104" v="6423" actId="313"/>
            <ac:spMkLst>
              <pc:docMk/>
              <pc:sldMasterMk cId="344016572" sldId="2147483648"/>
              <pc:sldLayoutMk cId="4272180520" sldId="2147483663"/>
              <ac:spMk id="4" creationId="{F5DEA211-5BD7-4858-87F2-0AA1AD6ACAF1}"/>
            </ac:spMkLst>
          </pc:spChg>
        </pc:sldLayoutChg>
        <pc:sldLayoutChg chg="modSp mod">
          <pc:chgData name="Hesse, Thomas Dr." userId="661ed4e0-7782-4a1c-9bc8-dd191b47db53" providerId="ADAL" clId="{C7B830A9-0123-4835-A836-7B72F5B1B7D9}" dt="2024-06-05T13:26:25.690" v="6424" actId="313"/>
          <pc:sldLayoutMkLst>
            <pc:docMk/>
            <pc:sldMasterMk cId="344016572" sldId="2147483648"/>
            <pc:sldLayoutMk cId="2076741912" sldId="2147483668"/>
          </pc:sldLayoutMkLst>
          <pc:spChg chg="mod">
            <ac:chgData name="Hesse, Thomas Dr." userId="661ed4e0-7782-4a1c-9bc8-dd191b47db53" providerId="ADAL" clId="{C7B830A9-0123-4835-A836-7B72F5B1B7D9}" dt="2024-06-05T13:26:25.690" v="6424" actId="313"/>
            <ac:spMkLst>
              <pc:docMk/>
              <pc:sldMasterMk cId="344016572" sldId="2147483648"/>
              <pc:sldLayoutMk cId="2076741912" sldId="2147483668"/>
              <ac:spMk id="4" creationId="{F5DEA211-5BD7-4858-87F2-0AA1AD6ACAF1}"/>
            </ac:spMkLst>
          </pc:spChg>
        </pc:sldLayoutChg>
        <pc:sldLayoutChg chg="modSp mod">
          <pc:chgData name="Hesse, Thomas Dr." userId="661ed4e0-7782-4a1c-9bc8-dd191b47db53" providerId="ADAL" clId="{C7B830A9-0123-4835-A836-7B72F5B1B7D9}" dt="2024-06-05T13:26:21.768" v="6417" actId="313"/>
          <pc:sldLayoutMkLst>
            <pc:docMk/>
            <pc:sldMasterMk cId="344016572" sldId="2147483648"/>
            <pc:sldLayoutMk cId="2815213893" sldId="2147483670"/>
          </pc:sldLayoutMkLst>
          <pc:spChg chg="mod">
            <ac:chgData name="Hesse, Thomas Dr." userId="661ed4e0-7782-4a1c-9bc8-dd191b47db53" providerId="ADAL" clId="{C7B830A9-0123-4835-A836-7B72F5B1B7D9}" dt="2024-06-05T13:26:21.768" v="6417" actId="313"/>
            <ac:spMkLst>
              <pc:docMk/>
              <pc:sldMasterMk cId="344016572" sldId="2147483648"/>
              <pc:sldLayoutMk cId="2815213893" sldId="2147483670"/>
              <ac:spMk id="3" creationId="{6DFF7D27-B8CB-4095-BFC7-B455915022D0}"/>
            </ac:spMkLst>
          </pc:spChg>
        </pc:sldLayoutChg>
        <pc:sldLayoutChg chg="modSp mod">
          <pc:chgData name="Hesse, Thomas Dr." userId="661ed4e0-7782-4a1c-9bc8-dd191b47db53" providerId="ADAL" clId="{C7B830A9-0123-4835-A836-7B72F5B1B7D9}" dt="2024-06-05T13:26:22.296" v="6418" actId="313"/>
          <pc:sldLayoutMkLst>
            <pc:docMk/>
            <pc:sldMasterMk cId="344016572" sldId="2147483648"/>
            <pc:sldLayoutMk cId="3910805892" sldId="2147483671"/>
          </pc:sldLayoutMkLst>
          <pc:spChg chg="mod">
            <ac:chgData name="Hesse, Thomas Dr." userId="661ed4e0-7782-4a1c-9bc8-dd191b47db53" providerId="ADAL" clId="{C7B830A9-0123-4835-A836-7B72F5B1B7D9}" dt="2024-06-05T13:26:22.296" v="6418" actId="313"/>
            <ac:spMkLst>
              <pc:docMk/>
              <pc:sldMasterMk cId="344016572" sldId="2147483648"/>
              <pc:sldLayoutMk cId="3910805892" sldId="2147483671"/>
              <ac:spMk id="3" creationId="{F4516CDA-F1F2-4208-94F3-F268851186D4}"/>
            </ac:spMkLst>
          </pc:spChg>
        </pc:sldLayoutChg>
        <pc:sldLayoutChg chg="modSp mod">
          <pc:chgData name="Hesse, Thomas Dr." userId="661ed4e0-7782-4a1c-9bc8-dd191b47db53" providerId="ADAL" clId="{C7B830A9-0123-4835-A836-7B72F5B1B7D9}" dt="2024-06-05T13:26:24.033" v="6421" actId="313"/>
          <pc:sldLayoutMkLst>
            <pc:docMk/>
            <pc:sldMasterMk cId="344016572" sldId="2147483648"/>
            <pc:sldLayoutMk cId="2179294819" sldId="2147483672"/>
          </pc:sldLayoutMkLst>
          <pc:spChg chg="mod">
            <ac:chgData name="Hesse, Thomas Dr." userId="661ed4e0-7782-4a1c-9bc8-dd191b47db53" providerId="ADAL" clId="{C7B830A9-0123-4835-A836-7B72F5B1B7D9}" dt="2024-06-05T13:26:24.033" v="6421" actId="313"/>
            <ac:spMkLst>
              <pc:docMk/>
              <pc:sldMasterMk cId="344016572" sldId="2147483648"/>
              <pc:sldLayoutMk cId="2179294819" sldId="2147483672"/>
              <ac:spMk id="3" creationId="{27A3048A-F4AB-4310-B65E-D9B67C896310}"/>
            </ac:spMkLst>
          </pc:spChg>
        </pc:sldLayoutChg>
        <pc:sldLayoutChg chg="modSp mod">
          <pc:chgData name="Hesse, Thomas Dr." userId="661ed4e0-7782-4a1c-9bc8-dd191b47db53" providerId="ADAL" clId="{C7B830A9-0123-4835-A836-7B72F5B1B7D9}" dt="2024-06-05T13:26:24.560" v="6422" actId="313"/>
          <pc:sldLayoutMkLst>
            <pc:docMk/>
            <pc:sldMasterMk cId="344016572" sldId="2147483648"/>
            <pc:sldLayoutMk cId="690894864" sldId="2147483673"/>
          </pc:sldLayoutMkLst>
          <pc:spChg chg="mod">
            <ac:chgData name="Hesse, Thomas Dr." userId="661ed4e0-7782-4a1c-9bc8-dd191b47db53" providerId="ADAL" clId="{C7B830A9-0123-4835-A836-7B72F5B1B7D9}" dt="2024-06-05T13:26:24.560" v="6422" actId="313"/>
            <ac:spMkLst>
              <pc:docMk/>
              <pc:sldMasterMk cId="344016572" sldId="2147483648"/>
              <pc:sldLayoutMk cId="690894864" sldId="2147483673"/>
              <ac:spMk id="3" creationId="{1348595E-6CDC-4946-941D-F91BF4132354}"/>
            </ac:spMkLst>
          </pc:spChg>
        </pc:sldLayoutChg>
        <pc:sldLayoutChg chg="modSp mod">
          <pc:chgData name="Hesse, Thomas Dr." userId="661ed4e0-7782-4a1c-9bc8-dd191b47db53" providerId="ADAL" clId="{C7B830A9-0123-4835-A836-7B72F5B1B7D9}" dt="2024-06-05T13:26:23.472" v="6420" actId="313"/>
          <pc:sldLayoutMkLst>
            <pc:docMk/>
            <pc:sldMasterMk cId="344016572" sldId="2147483648"/>
            <pc:sldLayoutMk cId="2421675587" sldId="2147483674"/>
          </pc:sldLayoutMkLst>
          <pc:spChg chg="mod">
            <ac:chgData name="Hesse, Thomas Dr." userId="661ed4e0-7782-4a1c-9bc8-dd191b47db53" providerId="ADAL" clId="{C7B830A9-0123-4835-A836-7B72F5B1B7D9}" dt="2024-06-05T13:26:23.472" v="6420" actId="313"/>
            <ac:spMkLst>
              <pc:docMk/>
              <pc:sldMasterMk cId="344016572" sldId="2147483648"/>
              <pc:sldLayoutMk cId="2421675587" sldId="2147483674"/>
              <ac:spMk id="3" creationId="{9CE55C7B-E316-4E16-B76D-ECEF793CC2C2}"/>
            </ac:spMkLst>
          </pc:spChg>
        </pc:sldLayoutChg>
        <pc:sldLayoutChg chg="modSp mod">
          <pc:chgData name="Hesse, Thomas Dr." userId="661ed4e0-7782-4a1c-9bc8-dd191b47db53" providerId="ADAL" clId="{C7B830A9-0123-4835-A836-7B72F5B1B7D9}" dt="2024-06-05T13:26:22.865" v="6419" actId="313"/>
          <pc:sldLayoutMkLst>
            <pc:docMk/>
            <pc:sldMasterMk cId="344016572" sldId="2147483648"/>
            <pc:sldLayoutMk cId="2878136538" sldId="2147483675"/>
          </pc:sldLayoutMkLst>
          <pc:spChg chg="mod">
            <ac:chgData name="Hesse, Thomas Dr." userId="661ed4e0-7782-4a1c-9bc8-dd191b47db53" providerId="ADAL" clId="{C7B830A9-0123-4835-A836-7B72F5B1B7D9}" dt="2024-06-05T13:26:22.865" v="6419" actId="313"/>
            <ac:spMkLst>
              <pc:docMk/>
              <pc:sldMasterMk cId="344016572" sldId="2147483648"/>
              <pc:sldLayoutMk cId="2878136538" sldId="2147483675"/>
              <ac:spMk id="3" creationId="{46E38119-9F70-498B-A240-B89F427F21E8}"/>
            </ac:spMkLst>
          </pc:spChg>
        </pc:sldLayoutChg>
        <pc:sldLayoutChg chg="modSp mod">
          <pc:chgData name="Hesse, Thomas Dr." userId="661ed4e0-7782-4a1c-9bc8-dd191b47db53" providerId="ADAL" clId="{C7B830A9-0123-4835-A836-7B72F5B1B7D9}" dt="2024-06-05T13:26:20.720" v="6415" actId="313"/>
          <pc:sldLayoutMkLst>
            <pc:docMk/>
            <pc:sldMasterMk cId="344016572" sldId="2147483648"/>
            <pc:sldLayoutMk cId="565268052" sldId="2147483676"/>
          </pc:sldLayoutMkLst>
          <pc:spChg chg="mod">
            <ac:chgData name="Hesse, Thomas Dr." userId="661ed4e0-7782-4a1c-9bc8-dd191b47db53" providerId="ADAL" clId="{C7B830A9-0123-4835-A836-7B72F5B1B7D9}" dt="2024-06-05T13:26:20.720" v="6415" actId="313"/>
            <ac:spMkLst>
              <pc:docMk/>
              <pc:sldMasterMk cId="344016572" sldId="2147483648"/>
              <pc:sldLayoutMk cId="565268052" sldId="2147483676"/>
              <ac:spMk id="3" creationId="{8E2F82FC-C35F-46ED-AD87-89B2614658BB}"/>
            </ac:spMkLst>
          </pc:spChg>
        </pc:sldLayoutChg>
        <pc:sldLayoutChg chg="modSp mod">
          <pc:chgData name="Hesse, Thomas Dr." userId="661ed4e0-7782-4a1c-9bc8-dd191b47db53" providerId="ADAL" clId="{C7B830A9-0123-4835-A836-7B72F5B1B7D9}" dt="2024-06-05T13:26:21.248" v="6416" actId="313"/>
          <pc:sldLayoutMkLst>
            <pc:docMk/>
            <pc:sldMasterMk cId="344016572" sldId="2147483648"/>
            <pc:sldLayoutMk cId="316976075" sldId="2147483678"/>
          </pc:sldLayoutMkLst>
          <pc:spChg chg="mod">
            <ac:chgData name="Hesse, Thomas Dr." userId="661ed4e0-7782-4a1c-9bc8-dd191b47db53" providerId="ADAL" clId="{C7B830A9-0123-4835-A836-7B72F5B1B7D9}" dt="2024-06-05T13:26:21.248" v="6416" actId="313"/>
            <ac:spMkLst>
              <pc:docMk/>
              <pc:sldMasterMk cId="344016572" sldId="2147483648"/>
              <pc:sldLayoutMk cId="316976075" sldId="2147483678"/>
              <ac:spMk id="3" creationId="{77C59253-450D-4234-A5AF-24D980F9AE0A}"/>
            </ac:spMkLst>
          </pc:spChg>
        </pc:sldLayoutChg>
        <pc:sldLayoutChg chg="modSp mod">
          <pc:chgData name="Hesse, Thomas Dr." userId="661ed4e0-7782-4a1c-9bc8-dd191b47db53" providerId="ADAL" clId="{C7B830A9-0123-4835-A836-7B72F5B1B7D9}" dt="2024-06-05T13:26:16.753" v="6408" actId="313"/>
          <pc:sldLayoutMkLst>
            <pc:docMk/>
            <pc:sldMasterMk cId="344016572" sldId="2147483648"/>
            <pc:sldLayoutMk cId="872386512" sldId="2147483680"/>
          </pc:sldLayoutMkLst>
          <pc:spChg chg="mod">
            <ac:chgData name="Hesse, Thomas Dr." userId="661ed4e0-7782-4a1c-9bc8-dd191b47db53" providerId="ADAL" clId="{C7B830A9-0123-4835-A836-7B72F5B1B7D9}" dt="2024-06-05T13:26:16.753" v="6408" actId="313"/>
            <ac:spMkLst>
              <pc:docMk/>
              <pc:sldMasterMk cId="344016572" sldId="2147483648"/>
              <pc:sldLayoutMk cId="872386512" sldId="2147483680"/>
              <ac:spMk id="5" creationId="{D156B0D9-175F-4D3C-AD38-24B1C4643E7E}"/>
            </ac:spMkLst>
          </pc:spChg>
        </pc:sldLayoutChg>
        <pc:sldLayoutChg chg="modSp mod">
          <pc:chgData name="Hesse, Thomas Dr." userId="661ed4e0-7782-4a1c-9bc8-dd191b47db53" providerId="ADAL" clId="{C7B830A9-0123-4835-A836-7B72F5B1B7D9}" dt="2024-06-05T13:26:12.713" v="6402" actId="313"/>
          <pc:sldLayoutMkLst>
            <pc:docMk/>
            <pc:sldMasterMk cId="344016572" sldId="2147483648"/>
            <pc:sldLayoutMk cId="1251196219" sldId="2147483683"/>
          </pc:sldLayoutMkLst>
          <pc:spChg chg="mod">
            <ac:chgData name="Hesse, Thomas Dr." userId="661ed4e0-7782-4a1c-9bc8-dd191b47db53" providerId="ADAL" clId="{C7B830A9-0123-4835-A836-7B72F5B1B7D9}" dt="2024-06-05T13:26:12.713" v="6402" actId="313"/>
            <ac:spMkLst>
              <pc:docMk/>
              <pc:sldMasterMk cId="344016572" sldId="2147483648"/>
              <pc:sldLayoutMk cId="1251196219" sldId="2147483683"/>
              <ac:spMk id="5" creationId="{2FE804F9-626A-46E9-9608-08B25EE71066}"/>
            </ac:spMkLst>
          </pc:spChg>
        </pc:sldLayoutChg>
        <pc:sldLayoutChg chg="modSp mod">
          <pc:chgData name="Hesse, Thomas Dr." userId="661ed4e0-7782-4a1c-9bc8-dd191b47db53" providerId="ADAL" clId="{C7B830A9-0123-4835-A836-7B72F5B1B7D9}" dt="2024-06-05T13:26:17.378" v="6409" actId="313"/>
          <pc:sldLayoutMkLst>
            <pc:docMk/>
            <pc:sldMasterMk cId="344016572" sldId="2147483648"/>
            <pc:sldLayoutMk cId="972576879" sldId="2147483685"/>
          </pc:sldLayoutMkLst>
          <pc:spChg chg="mod">
            <ac:chgData name="Hesse, Thomas Dr." userId="661ed4e0-7782-4a1c-9bc8-dd191b47db53" providerId="ADAL" clId="{C7B830A9-0123-4835-A836-7B72F5B1B7D9}" dt="2024-06-05T13:26:17.378" v="6409" actId="313"/>
            <ac:spMkLst>
              <pc:docMk/>
              <pc:sldMasterMk cId="344016572" sldId="2147483648"/>
              <pc:sldLayoutMk cId="972576879" sldId="2147483685"/>
              <ac:spMk id="5" creationId="{D156B0D9-175F-4D3C-AD38-24B1C4643E7E}"/>
            </ac:spMkLst>
          </pc:spChg>
        </pc:sldLayoutChg>
        <pc:sldLayoutChg chg="modSp mod">
          <pc:chgData name="Hesse, Thomas Dr." userId="661ed4e0-7782-4a1c-9bc8-dd191b47db53" providerId="ADAL" clId="{C7B830A9-0123-4835-A836-7B72F5B1B7D9}" dt="2024-06-05T13:26:17.954" v="6410" actId="313"/>
          <pc:sldLayoutMkLst>
            <pc:docMk/>
            <pc:sldMasterMk cId="344016572" sldId="2147483648"/>
            <pc:sldLayoutMk cId="3777998082" sldId="2147483686"/>
          </pc:sldLayoutMkLst>
          <pc:spChg chg="mod">
            <ac:chgData name="Hesse, Thomas Dr." userId="661ed4e0-7782-4a1c-9bc8-dd191b47db53" providerId="ADAL" clId="{C7B830A9-0123-4835-A836-7B72F5B1B7D9}" dt="2024-06-05T13:26:17.954" v="6410" actId="313"/>
            <ac:spMkLst>
              <pc:docMk/>
              <pc:sldMasterMk cId="344016572" sldId="2147483648"/>
              <pc:sldLayoutMk cId="3777998082" sldId="2147483686"/>
              <ac:spMk id="5" creationId="{D156B0D9-175F-4D3C-AD38-24B1C4643E7E}"/>
            </ac:spMkLst>
          </pc:spChg>
        </pc:sldLayoutChg>
        <pc:sldLayoutChg chg="modSp mod">
          <pc:chgData name="Hesse, Thomas Dr." userId="661ed4e0-7782-4a1c-9bc8-dd191b47db53" providerId="ADAL" clId="{C7B830A9-0123-4835-A836-7B72F5B1B7D9}" dt="2024-06-05T13:26:18.496" v="6411" actId="313"/>
          <pc:sldLayoutMkLst>
            <pc:docMk/>
            <pc:sldMasterMk cId="344016572" sldId="2147483648"/>
            <pc:sldLayoutMk cId="3854316093" sldId="2147483687"/>
          </pc:sldLayoutMkLst>
          <pc:spChg chg="mod">
            <ac:chgData name="Hesse, Thomas Dr." userId="661ed4e0-7782-4a1c-9bc8-dd191b47db53" providerId="ADAL" clId="{C7B830A9-0123-4835-A836-7B72F5B1B7D9}" dt="2024-06-05T13:26:18.496" v="6411" actId="313"/>
            <ac:spMkLst>
              <pc:docMk/>
              <pc:sldMasterMk cId="344016572" sldId="2147483648"/>
              <pc:sldLayoutMk cId="3854316093" sldId="2147483687"/>
              <ac:spMk id="5" creationId="{D156B0D9-175F-4D3C-AD38-24B1C4643E7E}"/>
            </ac:spMkLst>
          </pc:spChg>
        </pc:sldLayoutChg>
        <pc:sldLayoutChg chg="modSp mod">
          <pc:chgData name="Hesse, Thomas Dr." userId="661ed4e0-7782-4a1c-9bc8-dd191b47db53" providerId="ADAL" clId="{C7B830A9-0123-4835-A836-7B72F5B1B7D9}" dt="2024-06-05T13:26:13.440" v="6403" actId="313"/>
          <pc:sldLayoutMkLst>
            <pc:docMk/>
            <pc:sldMasterMk cId="344016572" sldId="2147483648"/>
            <pc:sldLayoutMk cId="3611127776" sldId="2147483688"/>
          </pc:sldLayoutMkLst>
          <pc:spChg chg="mod">
            <ac:chgData name="Hesse, Thomas Dr." userId="661ed4e0-7782-4a1c-9bc8-dd191b47db53" providerId="ADAL" clId="{C7B830A9-0123-4835-A836-7B72F5B1B7D9}" dt="2024-06-05T13:26:13.440" v="6403" actId="313"/>
            <ac:spMkLst>
              <pc:docMk/>
              <pc:sldMasterMk cId="344016572" sldId="2147483648"/>
              <pc:sldLayoutMk cId="3611127776" sldId="2147483688"/>
              <ac:spMk id="5" creationId="{2FE804F9-626A-46E9-9608-08B25EE71066}"/>
            </ac:spMkLst>
          </pc:spChg>
        </pc:sldLayoutChg>
        <pc:sldLayoutChg chg="modSp mod">
          <pc:chgData name="Hesse, Thomas Dr." userId="661ed4e0-7782-4a1c-9bc8-dd191b47db53" providerId="ADAL" clId="{C7B830A9-0123-4835-A836-7B72F5B1B7D9}" dt="2024-06-05T13:26:14.040" v="6404" actId="313"/>
          <pc:sldLayoutMkLst>
            <pc:docMk/>
            <pc:sldMasterMk cId="344016572" sldId="2147483648"/>
            <pc:sldLayoutMk cId="991349788" sldId="2147483689"/>
          </pc:sldLayoutMkLst>
          <pc:spChg chg="mod">
            <ac:chgData name="Hesse, Thomas Dr." userId="661ed4e0-7782-4a1c-9bc8-dd191b47db53" providerId="ADAL" clId="{C7B830A9-0123-4835-A836-7B72F5B1B7D9}" dt="2024-06-05T13:26:14.040" v="6404" actId="313"/>
            <ac:spMkLst>
              <pc:docMk/>
              <pc:sldMasterMk cId="344016572" sldId="2147483648"/>
              <pc:sldLayoutMk cId="991349788" sldId="2147483689"/>
              <ac:spMk id="5" creationId="{2FE804F9-626A-46E9-9608-08B25EE71066}"/>
            </ac:spMkLst>
          </pc:spChg>
        </pc:sldLayoutChg>
        <pc:sldLayoutChg chg="modSp mod">
          <pc:chgData name="Hesse, Thomas Dr." userId="661ed4e0-7782-4a1c-9bc8-dd191b47db53" providerId="ADAL" clId="{C7B830A9-0123-4835-A836-7B72F5B1B7D9}" dt="2024-06-05T13:26:14.623" v="6405" actId="313"/>
          <pc:sldLayoutMkLst>
            <pc:docMk/>
            <pc:sldMasterMk cId="344016572" sldId="2147483648"/>
            <pc:sldLayoutMk cId="1385487563" sldId="2147483690"/>
          </pc:sldLayoutMkLst>
          <pc:spChg chg="mod">
            <ac:chgData name="Hesse, Thomas Dr." userId="661ed4e0-7782-4a1c-9bc8-dd191b47db53" providerId="ADAL" clId="{C7B830A9-0123-4835-A836-7B72F5B1B7D9}" dt="2024-06-05T13:26:14.623" v="6405" actId="313"/>
            <ac:spMkLst>
              <pc:docMk/>
              <pc:sldMasterMk cId="344016572" sldId="2147483648"/>
              <pc:sldLayoutMk cId="1385487563" sldId="2147483690"/>
              <ac:spMk id="5" creationId="{2FE804F9-626A-46E9-9608-08B25EE71066}"/>
            </ac:spMkLst>
          </pc:spChg>
        </pc:sldLayoutChg>
        <pc:sldLayoutChg chg="modSp mod">
          <pc:chgData name="Hesse, Thomas Dr." userId="661ed4e0-7782-4a1c-9bc8-dd191b47db53" providerId="ADAL" clId="{C7B830A9-0123-4835-A836-7B72F5B1B7D9}" dt="2024-06-05T13:26:27.536" v="6427" actId="313"/>
          <pc:sldLayoutMkLst>
            <pc:docMk/>
            <pc:sldMasterMk cId="344016572" sldId="2147483648"/>
            <pc:sldLayoutMk cId="3314790145" sldId="2147483787"/>
          </pc:sldLayoutMkLst>
          <pc:spChg chg="mod">
            <ac:chgData name="Hesse, Thomas Dr." userId="661ed4e0-7782-4a1c-9bc8-dd191b47db53" providerId="ADAL" clId="{C7B830A9-0123-4835-A836-7B72F5B1B7D9}" dt="2024-06-05T13:26:27.536" v="6427" actId="313"/>
            <ac:spMkLst>
              <pc:docMk/>
              <pc:sldMasterMk cId="344016572" sldId="2147483648"/>
              <pc:sldLayoutMk cId="3314790145" sldId="2147483787"/>
              <ac:spMk id="4" creationId="{25C7DEFD-1ABE-4CE2-A3B3-85A9E0AB7A3A}"/>
            </ac:spMkLst>
          </pc:spChg>
        </pc:sldLayoutChg>
        <pc:sldLayoutChg chg="modSp mod">
          <pc:chgData name="Hesse, Thomas Dr." userId="661ed4e0-7782-4a1c-9bc8-dd191b47db53" providerId="ADAL" clId="{C7B830A9-0123-4835-A836-7B72F5B1B7D9}" dt="2024-06-05T13:26:28.072" v="6428" actId="313"/>
          <pc:sldLayoutMkLst>
            <pc:docMk/>
            <pc:sldMasterMk cId="344016572" sldId="2147483648"/>
            <pc:sldLayoutMk cId="4057209764" sldId="2147483788"/>
          </pc:sldLayoutMkLst>
          <pc:spChg chg="mod">
            <ac:chgData name="Hesse, Thomas Dr." userId="661ed4e0-7782-4a1c-9bc8-dd191b47db53" providerId="ADAL" clId="{C7B830A9-0123-4835-A836-7B72F5B1B7D9}" dt="2024-06-05T13:26:28.072" v="6428" actId="313"/>
            <ac:spMkLst>
              <pc:docMk/>
              <pc:sldMasterMk cId="344016572" sldId="2147483648"/>
              <pc:sldLayoutMk cId="4057209764" sldId="2147483788"/>
              <ac:spMk id="4" creationId="{CEF21442-1C4F-42B0-B924-83BE44F48063}"/>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82C2CEB-9DAF-414B-ACDA-FA64B9BED9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3FE5627-7E9D-4745-A374-5CCB0FACE4B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DFC25D-1D75-464B-AB16-0EDBEA02B280}" type="datetimeFigureOut">
              <a:rPr lang="en-US" smtClean="0"/>
              <a:t>6/6/2024</a:t>
            </a:fld>
            <a:endParaRPr lang="en-US"/>
          </a:p>
        </p:txBody>
      </p:sp>
      <p:sp>
        <p:nvSpPr>
          <p:cNvPr id="4" name="Footer Placeholder 3">
            <a:extLst>
              <a:ext uri="{FF2B5EF4-FFF2-40B4-BE49-F238E27FC236}">
                <a16:creationId xmlns:a16="http://schemas.microsoft.com/office/drawing/2014/main" id="{7F5EC0F0-9B8D-41E2-9ADC-AC299429D1E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E5E4172-E82C-4E11-953C-C38ACF160F7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8A11DA9-A23B-4A2C-8527-1AA93276F4F1}" type="slidenum">
              <a:rPr lang="en-US" smtClean="0"/>
              <a:t>‹#›</a:t>
            </a:fld>
            <a:endParaRPr lang="en-US"/>
          </a:p>
        </p:txBody>
      </p:sp>
    </p:spTree>
    <p:extLst>
      <p:ext uri="{BB962C8B-B14F-4D97-AF65-F5344CB8AC3E}">
        <p14:creationId xmlns:p14="http://schemas.microsoft.com/office/powerpoint/2010/main" val="26969372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E01389-B57E-4A09-9472-E1391BF433D2}" type="datetimeFigureOut">
              <a:rPr lang="en-US" smtClean="0"/>
              <a:t>6/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3ABFEB-FE4F-4DFF-815C-8F78B6D79449}" type="slidenum">
              <a:rPr lang="en-US" smtClean="0"/>
              <a:t>‹#›</a:t>
            </a:fld>
            <a:endParaRPr lang="en-US"/>
          </a:p>
        </p:txBody>
      </p:sp>
    </p:spTree>
    <p:extLst>
      <p:ext uri="{BB962C8B-B14F-4D97-AF65-F5344CB8AC3E}">
        <p14:creationId xmlns:p14="http://schemas.microsoft.com/office/powerpoint/2010/main" val="8394397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73ABFEB-FE4F-4DFF-815C-8F78B6D79449}" type="slidenum">
              <a:rPr lang="en-US" smtClean="0"/>
              <a:t>1</a:t>
            </a:fld>
            <a:endParaRPr lang="en-US"/>
          </a:p>
        </p:txBody>
      </p:sp>
    </p:spTree>
    <p:extLst>
      <p:ext uri="{BB962C8B-B14F-4D97-AF65-F5344CB8AC3E}">
        <p14:creationId xmlns:p14="http://schemas.microsoft.com/office/powerpoint/2010/main" val="3559967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0</a:t>
            </a:fld>
            <a:endParaRPr lang="en-US" dirty="0"/>
          </a:p>
        </p:txBody>
      </p:sp>
    </p:spTree>
    <p:extLst>
      <p:ext uri="{BB962C8B-B14F-4D97-AF65-F5344CB8AC3E}">
        <p14:creationId xmlns:p14="http://schemas.microsoft.com/office/powerpoint/2010/main" val="4165407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AC7BCB16-00DD-4F07-8367-2CC6834612CA}" type="slidenum">
              <a:rPr lang="de-DE"/>
              <a:t>11</a:t>
            </a:fld>
            <a:endParaRPr lang="de-DE" dirty="0"/>
          </a:p>
        </p:txBody>
      </p:sp>
    </p:spTree>
    <p:extLst>
      <p:ext uri="{BB962C8B-B14F-4D97-AF65-F5344CB8AC3E}">
        <p14:creationId xmlns:p14="http://schemas.microsoft.com/office/powerpoint/2010/main" val="9235325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2</a:t>
            </a:fld>
            <a:endParaRPr lang="en-US" dirty="0"/>
          </a:p>
        </p:txBody>
      </p:sp>
    </p:spTree>
    <p:extLst>
      <p:ext uri="{BB962C8B-B14F-4D97-AF65-F5344CB8AC3E}">
        <p14:creationId xmlns:p14="http://schemas.microsoft.com/office/powerpoint/2010/main" val="2461334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3</a:t>
            </a:fld>
            <a:endParaRPr lang="en-US" dirty="0"/>
          </a:p>
        </p:txBody>
      </p:sp>
    </p:spTree>
    <p:extLst>
      <p:ext uri="{BB962C8B-B14F-4D97-AF65-F5344CB8AC3E}">
        <p14:creationId xmlns:p14="http://schemas.microsoft.com/office/powerpoint/2010/main" val="2902007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4</a:t>
            </a:fld>
            <a:endParaRPr lang="en-US" dirty="0"/>
          </a:p>
        </p:txBody>
      </p:sp>
    </p:spTree>
    <p:extLst>
      <p:ext uri="{BB962C8B-B14F-4D97-AF65-F5344CB8AC3E}">
        <p14:creationId xmlns:p14="http://schemas.microsoft.com/office/powerpoint/2010/main" val="2270995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5</a:t>
            </a:fld>
            <a:endParaRPr lang="en-US" dirty="0"/>
          </a:p>
        </p:txBody>
      </p:sp>
    </p:spTree>
    <p:extLst>
      <p:ext uri="{BB962C8B-B14F-4D97-AF65-F5344CB8AC3E}">
        <p14:creationId xmlns:p14="http://schemas.microsoft.com/office/powerpoint/2010/main" val="14140679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6</a:t>
            </a:fld>
            <a:endParaRPr lang="en-US" dirty="0"/>
          </a:p>
        </p:txBody>
      </p:sp>
    </p:spTree>
    <p:extLst>
      <p:ext uri="{BB962C8B-B14F-4D97-AF65-F5344CB8AC3E}">
        <p14:creationId xmlns:p14="http://schemas.microsoft.com/office/powerpoint/2010/main" val="1586413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7</a:t>
            </a:fld>
            <a:endParaRPr lang="en-US" dirty="0"/>
          </a:p>
        </p:txBody>
      </p:sp>
    </p:spTree>
    <p:extLst>
      <p:ext uri="{BB962C8B-B14F-4D97-AF65-F5344CB8AC3E}">
        <p14:creationId xmlns:p14="http://schemas.microsoft.com/office/powerpoint/2010/main" val="3353620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8</a:t>
            </a:fld>
            <a:endParaRPr lang="en-US" dirty="0"/>
          </a:p>
        </p:txBody>
      </p:sp>
    </p:spTree>
    <p:extLst>
      <p:ext uri="{BB962C8B-B14F-4D97-AF65-F5344CB8AC3E}">
        <p14:creationId xmlns:p14="http://schemas.microsoft.com/office/powerpoint/2010/main" val="1261789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9</a:t>
            </a:fld>
            <a:endParaRPr lang="en-US" dirty="0"/>
          </a:p>
        </p:txBody>
      </p:sp>
    </p:spTree>
    <p:extLst>
      <p:ext uri="{BB962C8B-B14F-4D97-AF65-F5344CB8AC3E}">
        <p14:creationId xmlns:p14="http://schemas.microsoft.com/office/powerpoint/2010/main" val="1909487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373ABFEB-FE4F-4DFF-815C-8F78B6D79449}" type="slidenum">
              <a:rPr lang="en-US" smtClean="0"/>
              <a:t>2</a:t>
            </a:fld>
            <a:endParaRPr lang="en-US"/>
          </a:p>
        </p:txBody>
      </p:sp>
    </p:spTree>
    <p:extLst>
      <p:ext uri="{BB962C8B-B14F-4D97-AF65-F5344CB8AC3E}">
        <p14:creationId xmlns:p14="http://schemas.microsoft.com/office/powerpoint/2010/main" val="41507150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0</a:t>
            </a:fld>
            <a:endParaRPr lang="en-US" dirty="0"/>
          </a:p>
        </p:txBody>
      </p:sp>
    </p:spTree>
    <p:extLst>
      <p:ext uri="{BB962C8B-B14F-4D97-AF65-F5344CB8AC3E}">
        <p14:creationId xmlns:p14="http://schemas.microsoft.com/office/powerpoint/2010/main" val="882277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1</a:t>
            </a:fld>
            <a:endParaRPr lang="en-US" dirty="0"/>
          </a:p>
        </p:txBody>
      </p:sp>
    </p:spTree>
    <p:extLst>
      <p:ext uri="{BB962C8B-B14F-4D97-AF65-F5344CB8AC3E}">
        <p14:creationId xmlns:p14="http://schemas.microsoft.com/office/powerpoint/2010/main" val="2594702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2</a:t>
            </a:fld>
            <a:endParaRPr lang="en-US" dirty="0"/>
          </a:p>
        </p:txBody>
      </p:sp>
    </p:spTree>
    <p:extLst>
      <p:ext uri="{BB962C8B-B14F-4D97-AF65-F5344CB8AC3E}">
        <p14:creationId xmlns:p14="http://schemas.microsoft.com/office/powerpoint/2010/main" val="22095639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3</a:t>
            </a:fld>
            <a:endParaRPr lang="en-US" dirty="0"/>
          </a:p>
        </p:txBody>
      </p:sp>
    </p:spTree>
    <p:extLst>
      <p:ext uri="{BB962C8B-B14F-4D97-AF65-F5344CB8AC3E}">
        <p14:creationId xmlns:p14="http://schemas.microsoft.com/office/powerpoint/2010/main" val="35849232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4</a:t>
            </a:fld>
            <a:endParaRPr lang="en-US" dirty="0"/>
          </a:p>
        </p:txBody>
      </p:sp>
    </p:spTree>
    <p:extLst>
      <p:ext uri="{BB962C8B-B14F-4D97-AF65-F5344CB8AC3E}">
        <p14:creationId xmlns:p14="http://schemas.microsoft.com/office/powerpoint/2010/main" val="1979832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5</a:t>
            </a:fld>
            <a:endParaRPr lang="en-US" dirty="0"/>
          </a:p>
        </p:txBody>
      </p:sp>
    </p:spTree>
    <p:extLst>
      <p:ext uri="{BB962C8B-B14F-4D97-AF65-F5344CB8AC3E}">
        <p14:creationId xmlns:p14="http://schemas.microsoft.com/office/powerpoint/2010/main" val="3798174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6</a:t>
            </a:fld>
            <a:endParaRPr lang="en-US" dirty="0"/>
          </a:p>
        </p:txBody>
      </p:sp>
    </p:spTree>
    <p:extLst>
      <p:ext uri="{BB962C8B-B14F-4D97-AF65-F5344CB8AC3E}">
        <p14:creationId xmlns:p14="http://schemas.microsoft.com/office/powerpoint/2010/main" val="3986961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7</a:t>
            </a:fld>
            <a:endParaRPr lang="en-US" dirty="0"/>
          </a:p>
        </p:txBody>
      </p:sp>
    </p:spTree>
    <p:extLst>
      <p:ext uri="{BB962C8B-B14F-4D97-AF65-F5344CB8AC3E}">
        <p14:creationId xmlns:p14="http://schemas.microsoft.com/office/powerpoint/2010/main" val="214305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8</a:t>
            </a:fld>
            <a:endParaRPr lang="en-US" dirty="0"/>
          </a:p>
        </p:txBody>
      </p:sp>
    </p:spTree>
    <p:extLst>
      <p:ext uri="{BB962C8B-B14F-4D97-AF65-F5344CB8AC3E}">
        <p14:creationId xmlns:p14="http://schemas.microsoft.com/office/powerpoint/2010/main" val="1700811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AC7BCB16-00DD-4F07-8367-2CC6834612CA}" type="slidenum">
              <a:rPr lang="de-DE"/>
              <a:t>29</a:t>
            </a:fld>
            <a:endParaRPr lang="de-DE" dirty="0"/>
          </a:p>
        </p:txBody>
      </p:sp>
    </p:spTree>
    <p:extLst>
      <p:ext uri="{BB962C8B-B14F-4D97-AF65-F5344CB8AC3E}">
        <p14:creationId xmlns:p14="http://schemas.microsoft.com/office/powerpoint/2010/main" val="923532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AC7BCB16-00DD-4F07-8367-2CC6834612CA}" type="slidenum">
              <a:rPr lang="de-DE"/>
              <a:t>3</a:t>
            </a:fld>
            <a:endParaRPr lang="de-DE" dirty="0"/>
          </a:p>
        </p:txBody>
      </p:sp>
    </p:spTree>
    <p:extLst>
      <p:ext uri="{BB962C8B-B14F-4D97-AF65-F5344CB8AC3E}">
        <p14:creationId xmlns:p14="http://schemas.microsoft.com/office/powerpoint/2010/main" val="9235325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0</a:t>
            </a:fld>
            <a:endParaRPr lang="en-US" dirty="0"/>
          </a:p>
        </p:txBody>
      </p:sp>
    </p:spTree>
    <p:extLst>
      <p:ext uri="{BB962C8B-B14F-4D97-AF65-F5344CB8AC3E}">
        <p14:creationId xmlns:p14="http://schemas.microsoft.com/office/powerpoint/2010/main" val="30068914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1</a:t>
            </a:fld>
            <a:endParaRPr lang="en-US" dirty="0"/>
          </a:p>
        </p:txBody>
      </p:sp>
    </p:spTree>
    <p:extLst>
      <p:ext uri="{BB962C8B-B14F-4D97-AF65-F5344CB8AC3E}">
        <p14:creationId xmlns:p14="http://schemas.microsoft.com/office/powerpoint/2010/main" val="1685649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2</a:t>
            </a:fld>
            <a:endParaRPr lang="en-US" dirty="0"/>
          </a:p>
        </p:txBody>
      </p:sp>
    </p:spTree>
    <p:extLst>
      <p:ext uri="{BB962C8B-B14F-4D97-AF65-F5344CB8AC3E}">
        <p14:creationId xmlns:p14="http://schemas.microsoft.com/office/powerpoint/2010/main" val="24901983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AC7BCB16-00DD-4F07-8367-2CC6834612CA}" type="slidenum">
              <a:rPr lang="de-DE"/>
              <a:t>33</a:t>
            </a:fld>
            <a:endParaRPr lang="de-DE" dirty="0"/>
          </a:p>
        </p:txBody>
      </p:sp>
    </p:spTree>
    <p:extLst>
      <p:ext uri="{BB962C8B-B14F-4D97-AF65-F5344CB8AC3E}">
        <p14:creationId xmlns:p14="http://schemas.microsoft.com/office/powerpoint/2010/main" val="9235325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4</a:t>
            </a:fld>
            <a:endParaRPr lang="en-US" dirty="0"/>
          </a:p>
        </p:txBody>
      </p:sp>
    </p:spTree>
    <p:extLst>
      <p:ext uri="{BB962C8B-B14F-4D97-AF65-F5344CB8AC3E}">
        <p14:creationId xmlns:p14="http://schemas.microsoft.com/office/powerpoint/2010/main" val="8572748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3ABFEB-FE4F-4DFF-815C-8F78B6D79449}" type="slidenum">
              <a:rPr lang="en-US" smtClean="0"/>
              <a:t>35</a:t>
            </a:fld>
            <a:endParaRPr lang="en-US" dirty="0"/>
          </a:p>
        </p:txBody>
      </p:sp>
    </p:spTree>
    <p:extLst>
      <p:ext uri="{BB962C8B-B14F-4D97-AF65-F5344CB8AC3E}">
        <p14:creationId xmlns:p14="http://schemas.microsoft.com/office/powerpoint/2010/main" val="3118933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AC7BCB16-00DD-4F07-8367-2CC6834612CA}" type="slidenum">
              <a:rPr lang="de-DE"/>
              <a:t>4</a:t>
            </a:fld>
            <a:endParaRPr lang="de-DE" dirty="0"/>
          </a:p>
        </p:txBody>
      </p:sp>
    </p:spTree>
    <p:extLst>
      <p:ext uri="{BB962C8B-B14F-4D97-AF65-F5344CB8AC3E}">
        <p14:creationId xmlns:p14="http://schemas.microsoft.com/office/powerpoint/2010/main" val="923532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5</a:t>
            </a:fld>
            <a:endParaRPr lang="en-US" dirty="0"/>
          </a:p>
        </p:txBody>
      </p:sp>
    </p:spTree>
    <p:extLst>
      <p:ext uri="{BB962C8B-B14F-4D97-AF65-F5344CB8AC3E}">
        <p14:creationId xmlns:p14="http://schemas.microsoft.com/office/powerpoint/2010/main" val="894414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6</a:t>
            </a:fld>
            <a:endParaRPr lang="en-US" dirty="0"/>
          </a:p>
        </p:txBody>
      </p:sp>
    </p:spTree>
    <p:extLst>
      <p:ext uri="{BB962C8B-B14F-4D97-AF65-F5344CB8AC3E}">
        <p14:creationId xmlns:p14="http://schemas.microsoft.com/office/powerpoint/2010/main" val="182724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7</a:t>
            </a:fld>
            <a:endParaRPr lang="en-US" dirty="0"/>
          </a:p>
        </p:txBody>
      </p:sp>
    </p:spTree>
    <p:extLst>
      <p:ext uri="{BB962C8B-B14F-4D97-AF65-F5344CB8AC3E}">
        <p14:creationId xmlns:p14="http://schemas.microsoft.com/office/powerpoint/2010/main" val="719223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8</a:t>
            </a:fld>
            <a:endParaRPr lang="en-US" dirty="0"/>
          </a:p>
        </p:txBody>
      </p:sp>
    </p:spTree>
    <p:extLst>
      <p:ext uri="{BB962C8B-B14F-4D97-AF65-F5344CB8AC3E}">
        <p14:creationId xmlns:p14="http://schemas.microsoft.com/office/powerpoint/2010/main" val="3310370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9</a:t>
            </a:fld>
            <a:endParaRPr lang="en-US" dirty="0"/>
          </a:p>
        </p:txBody>
      </p:sp>
    </p:spTree>
    <p:extLst>
      <p:ext uri="{BB962C8B-B14F-4D97-AF65-F5344CB8AC3E}">
        <p14:creationId xmlns:p14="http://schemas.microsoft.com/office/powerpoint/2010/main" val="2897924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36EFDE-6E8E-463F-8EA1-BBACFCBA5088}"/>
              </a:ext>
            </a:extLst>
          </p:cNvPr>
          <p:cNvSpPr>
            <a:spLocks noGrp="1"/>
          </p:cNvSpPr>
          <p:nvPr>
            <p:ph type="pic" sz="quarter" idx="20"/>
          </p:nvPr>
        </p:nvSpPr>
        <p:spPr>
          <a:xfrm>
            <a:off x="0" y="0"/>
            <a:ext cx="9144000" cy="5143129"/>
          </a:xfrm>
          <a:blipFill>
            <a:blip r:embed="rId2"/>
            <a:stretch>
              <a:fillRect/>
            </a:stretch>
          </a:blipFill>
        </p:spPr>
        <p:txBody>
          <a:bodyPr/>
          <a:lstStyle/>
          <a:p>
            <a:r>
              <a:rPr lang="de-DE"/>
              <a:t>Bild durch Klicken auf Symbol hinzufügen</a:t>
            </a:r>
            <a:endParaRPr lang="en-US"/>
          </a:p>
        </p:txBody>
      </p:sp>
      <p:sp>
        <p:nvSpPr>
          <p:cNvPr id="5" name="Footer Placeholder 4">
            <a:extLst>
              <a:ext uri="{FF2B5EF4-FFF2-40B4-BE49-F238E27FC236}">
                <a16:creationId xmlns:a16="http://schemas.microsoft.com/office/drawing/2014/main" id="{2FE804F9-626A-46E9-9608-08B25EE71066}"/>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274C594-B7AA-4F15-BF7A-E391D31ABE59}"/>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10" name="Title 1">
            <a:extLst>
              <a:ext uri="{FF2B5EF4-FFF2-40B4-BE49-F238E27FC236}">
                <a16:creationId xmlns:a16="http://schemas.microsoft.com/office/drawing/2014/main" id="{9CAC5A24-CA5B-47A1-A041-D1119963CA11}"/>
              </a:ext>
            </a:extLst>
          </p:cNvPr>
          <p:cNvSpPr>
            <a:spLocks noGrp="1"/>
          </p:cNvSpPr>
          <p:nvPr>
            <p:ph type="title" hasCustomPrompt="1"/>
          </p:nvPr>
        </p:nvSpPr>
        <p:spPr>
          <a:xfrm>
            <a:off x="0" y="334800"/>
            <a:ext cx="4571999" cy="3595254"/>
          </a:xfrm>
          <a:solidFill>
            <a:schemeClr val="bg2"/>
          </a:solidFill>
        </p:spPr>
        <p:txBody>
          <a:bodyPr lIns="216000" rIns="108000" bIns="1299600" anchor="b" anchorCtr="0"/>
          <a:lstStyle>
            <a:lvl1pPr>
              <a:lnSpc>
                <a:spcPct val="100000"/>
              </a:lnSpc>
              <a:defRPr sz="3200">
                <a:solidFill>
                  <a:schemeClr val="tx2"/>
                </a:solidFill>
              </a:defRPr>
            </a:lvl1pPr>
          </a:lstStyle>
          <a:p>
            <a:r>
              <a:rPr lang="en-US" dirty="0"/>
              <a:t>Click to edit </a:t>
            </a:r>
            <a:br>
              <a:rPr lang="en-US" dirty="0"/>
            </a:br>
            <a:r>
              <a:rPr lang="en-US" dirty="0"/>
              <a:t>Master title </a:t>
            </a:r>
            <a:br>
              <a:rPr lang="en-US" dirty="0"/>
            </a:br>
            <a:r>
              <a:rPr lang="en-US" dirty="0"/>
              <a:t>style</a:t>
            </a:r>
          </a:p>
        </p:txBody>
      </p:sp>
      <p:sp>
        <p:nvSpPr>
          <p:cNvPr id="11" name="Subtitle 2">
            <a:extLst>
              <a:ext uri="{FF2B5EF4-FFF2-40B4-BE49-F238E27FC236}">
                <a16:creationId xmlns:a16="http://schemas.microsoft.com/office/drawing/2014/main" id="{19AB9407-1A62-459E-8B39-0840149493A3}"/>
              </a:ext>
            </a:extLst>
          </p:cNvPr>
          <p:cNvSpPr>
            <a:spLocks noGrp="1"/>
          </p:cNvSpPr>
          <p:nvPr>
            <p:ph type="subTitle" idx="1"/>
          </p:nvPr>
        </p:nvSpPr>
        <p:spPr>
          <a:xfrm>
            <a:off x="217303" y="2710800"/>
            <a:ext cx="4032000" cy="406800"/>
          </a:xfrm>
        </p:spPr>
        <p:txBody>
          <a:bodyPr>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2" name="Text Placeholder 15">
            <a:extLst>
              <a:ext uri="{FF2B5EF4-FFF2-40B4-BE49-F238E27FC236}">
                <a16:creationId xmlns:a16="http://schemas.microsoft.com/office/drawing/2014/main" id="{74613859-FEDA-40DE-AFB0-101D8E75229E}"/>
              </a:ext>
            </a:extLst>
          </p:cNvPr>
          <p:cNvSpPr>
            <a:spLocks noGrp="1"/>
          </p:cNvSpPr>
          <p:nvPr>
            <p:ph type="body" sz="quarter" idx="16" hasCustomPrompt="1"/>
          </p:nvPr>
        </p:nvSpPr>
        <p:spPr>
          <a:xfrm>
            <a:off x="217303" y="3259183"/>
            <a:ext cx="4032000" cy="138499"/>
          </a:xfrm>
        </p:spPr>
        <p:txBody>
          <a:bodyPr anchor="t" anchorCtr="0">
            <a:noAutofit/>
          </a:bodyPr>
          <a:lstStyle>
            <a:lvl1pPr>
              <a:defRPr sz="900"/>
            </a:lvl1pPr>
          </a:lstStyle>
          <a:p>
            <a:pPr lvl="0"/>
            <a:r>
              <a:rPr lang="en-US" dirty="0"/>
              <a:t>Presenter Name – </a:t>
            </a:r>
          </a:p>
        </p:txBody>
      </p:sp>
      <p:sp>
        <p:nvSpPr>
          <p:cNvPr id="9" name="Text Placeholder 15">
            <a:extLst>
              <a:ext uri="{FF2B5EF4-FFF2-40B4-BE49-F238E27FC236}">
                <a16:creationId xmlns:a16="http://schemas.microsoft.com/office/drawing/2014/main" id="{3D8C2CE3-905C-40EB-8526-097F9F50549A}"/>
              </a:ext>
            </a:extLst>
          </p:cNvPr>
          <p:cNvSpPr>
            <a:spLocks noGrp="1"/>
          </p:cNvSpPr>
          <p:nvPr>
            <p:ph type="body" sz="quarter" idx="21" hasCustomPrompt="1"/>
          </p:nvPr>
        </p:nvSpPr>
        <p:spPr>
          <a:xfrm>
            <a:off x="217303" y="3427441"/>
            <a:ext cx="4032000" cy="138499"/>
          </a:xfrm>
        </p:spPr>
        <p:txBody>
          <a:bodyPr anchor="t" anchorCtr="0">
            <a:noAutofit/>
          </a:bodyPr>
          <a:lstStyle>
            <a:lvl1pPr>
              <a:defRPr sz="900"/>
            </a:lvl1pPr>
          </a:lstStyle>
          <a:p>
            <a:pPr lvl="0"/>
            <a:r>
              <a:rPr lang="en-US" dirty="0"/>
              <a:t>Presenter Title – </a:t>
            </a:r>
          </a:p>
        </p:txBody>
      </p:sp>
      <p:sp>
        <p:nvSpPr>
          <p:cNvPr id="14" name="Text Placeholder 15">
            <a:extLst>
              <a:ext uri="{FF2B5EF4-FFF2-40B4-BE49-F238E27FC236}">
                <a16:creationId xmlns:a16="http://schemas.microsoft.com/office/drawing/2014/main" id="{00904253-5910-4A60-B4D2-96EC668D9467}"/>
              </a:ext>
            </a:extLst>
          </p:cNvPr>
          <p:cNvSpPr>
            <a:spLocks noGrp="1"/>
          </p:cNvSpPr>
          <p:nvPr>
            <p:ph type="body" sz="quarter" idx="22" hasCustomPrompt="1"/>
          </p:nvPr>
        </p:nvSpPr>
        <p:spPr>
          <a:xfrm>
            <a:off x="217303" y="3595699"/>
            <a:ext cx="4032000" cy="138499"/>
          </a:xfrm>
        </p:spPr>
        <p:txBody>
          <a:bodyPr anchor="t" anchorCtr="0">
            <a:noAutofit/>
          </a:bodyPr>
          <a:lstStyle>
            <a:lvl1pPr>
              <a:defRPr sz="900"/>
            </a:lvl1pPr>
          </a:lstStyle>
          <a:p>
            <a:pPr lvl="0"/>
            <a:r>
              <a:rPr lang="en-US" dirty="0"/>
              <a:t>Date – </a:t>
            </a:r>
          </a:p>
        </p:txBody>
      </p:sp>
      <p:sp>
        <p:nvSpPr>
          <p:cNvPr id="8" name="Text Placeholder 7">
            <a:extLst>
              <a:ext uri="{FF2B5EF4-FFF2-40B4-BE49-F238E27FC236}">
                <a16:creationId xmlns:a16="http://schemas.microsoft.com/office/drawing/2014/main" id="{2F890352-E309-45C7-A3EC-DB654D740B2C}"/>
              </a:ext>
            </a:extLst>
          </p:cNvPr>
          <p:cNvSpPr>
            <a:spLocks noGrp="1"/>
          </p:cNvSpPr>
          <p:nvPr>
            <p:ph type="body" sz="quarter" idx="23"/>
          </p:nvPr>
        </p:nvSpPr>
        <p:spPr>
          <a:xfrm>
            <a:off x="218232" y="561822"/>
            <a:ext cx="1307728" cy="199686"/>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12511962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 - Bright lif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15BDB9-BC41-4166-9D63-84BB94336BE0}"/>
              </a:ext>
            </a:extLst>
          </p:cNvPr>
          <p:cNvSpPr/>
          <p:nvPr/>
        </p:nvSpPr>
        <p:spPr>
          <a:xfrm>
            <a:off x="0" y="0"/>
            <a:ext cx="9144000" cy="5143500"/>
          </a:xfrm>
          <a:prstGeom prst="rect">
            <a:avLst/>
          </a:prstGeom>
          <a:solidFill>
            <a:schemeClr val="accent3"/>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p:txBody>
          <a:bodyPr/>
          <a:lstStyle>
            <a:lvl1pPr>
              <a:defRPr>
                <a:solidFill>
                  <a:schemeClr val="tx2"/>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p:txBody>
          <a:bodyPr/>
          <a:lstStyle>
            <a:lvl1pPr>
              <a:defRPr>
                <a:solidFill>
                  <a:schemeClr val="tx2"/>
                </a:solidFill>
              </a:defRPr>
            </a:lvl1pPr>
          </a:lstStyle>
          <a:p>
            <a:fld id="{FBE75FA5-C509-4590-93CE-878685F65CB2}" type="slidenum">
              <a:rPr lang="en-US" smtClean="0"/>
              <a:pPr/>
              <a:t>‹#›</a:t>
            </a:fld>
            <a:endParaRPr lang="en-US" dirty="0"/>
          </a:p>
        </p:txBody>
      </p:sp>
      <p:sp>
        <p:nvSpPr>
          <p:cNvPr id="9" name="Title 1">
            <a:extLst>
              <a:ext uri="{FF2B5EF4-FFF2-40B4-BE49-F238E27FC236}">
                <a16:creationId xmlns:a16="http://schemas.microsoft.com/office/drawing/2014/main" id="{C0FD9736-4939-44D0-A156-7D80D08AD4F1}"/>
              </a:ext>
            </a:extLst>
          </p:cNvPr>
          <p:cNvSpPr>
            <a:spLocks noGrp="1"/>
          </p:cNvSpPr>
          <p:nvPr>
            <p:ph type="title"/>
          </p:nvPr>
        </p:nvSpPr>
        <p:spPr>
          <a:xfrm>
            <a:off x="223520" y="561021"/>
            <a:ext cx="3175200" cy="1526400"/>
          </a:xfrm>
          <a:noFill/>
        </p:spPr>
        <p:txBody>
          <a:bodyPr lIns="0" tIns="0" rIns="0" anchor="t" anchorCtr="0"/>
          <a:lstStyle>
            <a:lvl1pPr>
              <a:lnSpc>
                <a:spcPct val="100000"/>
              </a:lnSpc>
              <a:defRPr sz="3200">
                <a:solidFill>
                  <a:schemeClr val="tx2"/>
                </a:solidFill>
                <a:latin typeface="+mn-lt"/>
              </a:defRPr>
            </a:lvl1pPr>
          </a:lstStyle>
          <a:p>
            <a:r>
              <a:rPr lang="de-DE"/>
              <a:t>Mastertitelformat bearbeiten</a:t>
            </a:r>
            <a:endParaRPr lang="en-US" dirty="0"/>
          </a:p>
        </p:txBody>
      </p:sp>
      <p:sp>
        <p:nvSpPr>
          <p:cNvPr id="10" name="Freeform 5">
            <a:extLst>
              <a:ext uri="{FF2B5EF4-FFF2-40B4-BE49-F238E27FC236}">
                <a16:creationId xmlns:a16="http://schemas.microsoft.com/office/drawing/2014/main" id="{5A4606A1-A78B-43F7-835D-D4CA0CE8BD50}"/>
              </a:ext>
            </a:extLst>
          </p:cNvPr>
          <p:cNvSpPr>
            <a:spLocks noEditPoints="1"/>
          </p:cNvSpPr>
          <p:nvPr/>
        </p:nvSpPr>
        <p:spPr bwMode="auto">
          <a:xfrm>
            <a:off x="7854983" y="4784532"/>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011F3D"/>
          </a:solidFill>
          <a:ln>
            <a:noFill/>
          </a:ln>
        </p:spPr>
        <p:txBody>
          <a:bodyPr vert="horz" wrap="square" lIns="91440" tIns="45720" rIns="91440" bIns="45720" numCol="1" anchor="t" anchorCtr="0" compatLnSpc="1">
            <a:prstTxWarp prst="textNoShape">
              <a:avLst/>
            </a:prstTxWarp>
          </a:bodyPr>
          <a:lstStyle/>
          <a:p>
            <a:endParaRPr lang="en-US">
              <a:solidFill>
                <a:srgbClr val="011F3D"/>
              </a:solidFill>
            </a:endParaRPr>
          </a:p>
        </p:txBody>
      </p:sp>
    </p:spTree>
    <p:extLst>
      <p:ext uri="{BB962C8B-B14F-4D97-AF65-F5344CB8AC3E}">
        <p14:creationId xmlns:p14="http://schemas.microsoft.com/office/powerpoint/2010/main" val="3854316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Slide - blank - blue logo">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B32F883E-C793-402B-89DA-E4622855381E}"/>
              </a:ext>
            </a:extLst>
          </p:cNvPr>
          <p:cNvSpPr>
            <a:spLocks noGrp="1"/>
          </p:cNvSpPr>
          <p:nvPr>
            <p:ph type="pic" sz="quarter" idx="19"/>
          </p:nvPr>
        </p:nvSpPr>
        <p:spPr>
          <a:xfrm>
            <a:off x="0" y="0"/>
            <a:ext cx="9144000" cy="5143500"/>
          </a:xfrm>
        </p:spPr>
        <p:txBody>
          <a:bodyPr/>
          <a:lstStyle>
            <a:lvl1pPr>
              <a:defRPr sz="1200"/>
            </a:lvl1pPr>
          </a:lstStyle>
          <a:p>
            <a:r>
              <a:rPr lang="de-DE"/>
              <a:t>Bild durch Klicken auf Symbol hinzufügen</a:t>
            </a:r>
            <a:endParaRPr lang="en-US"/>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2" name="Title 1">
            <a:extLst>
              <a:ext uri="{FF2B5EF4-FFF2-40B4-BE49-F238E27FC236}">
                <a16:creationId xmlns:a16="http://schemas.microsoft.com/office/drawing/2014/main" id="{5AC71437-8BAC-419E-9A66-FFBB6163EC64}"/>
              </a:ext>
            </a:extLst>
          </p:cNvPr>
          <p:cNvSpPr>
            <a:spLocks noGrp="1"/>
          </p:cNvSpPr>
          <p:nvPr>
            <p:ph type="title"/>
          </p:nvPr>
        </p:nvSpPr>
        <p:spPr>
          <a:xfrm>
            <a:off x="-3" y="198434"/>
            <a:ext cx="3810003" cy="2990851"/>
          </a:xfrm>
          <a:solidFill>
            <a:schemeClr val="bg2"/>
          </a:solidFill>
        </p:spPr>
        <p:txBody>
          <a:bodyPr lIns="216000" bIns="648000" anchor="b"/>
          <a:lstStyle>
            <a:lvl1pPr>
              <a:lnSpc>
                <a:spcPct val="100000"/>
              </a:lnSpc>
              <a:defRPr sz="3200">
                <a:solidFill>
                  <a:schemeClr val="tx2"/>
                </a:solidFill>
                <a:latin typeface="+mn-lt"/>
              </a:defRPr>
            </a:lvl1pPr>
          </a:lstStyle>
          <a:p>
            <a:r>
              <a:rPr lang="de-DE"/>
              <a:t>Mastertitelformat bearbeiten</a:t>
            </a:r>
            <a:endParaRPr lang="en-US" dirty="0"/>
          </a:p>
        </p:txBody>
      </p:sp>
      <p:sp>
        <p:nvSpPr>
          <p:cNvPr id="10" name="Text Placeholder 7">
            <a:extLst>
              <a:ext uri="{FF2B5EF4-FFF2-40B4-BE49-F238E27FC236}">
                <a16:creationId xmlns:a16="http://schemas.microsoft.com/office/drawing/2014/main" id="{48763C81-3F86-424C-9E4A-127D0CED62F8}"/>
              </a:ext>
            </a:extLst>
          </p:cNvPr>
          <p:cNvSpPr>
            <a:spLocks noGrp="1"/>
          </p:cNvSpPr>
          <p:nvPr>
            <p:ph type="body" sz="quarter" idx="23"/>
          </p:nvPr>
        </p:nvSpPr>
        <p:spPr>
          <a:xfrm>
            <a:off x="218232" y="561822"/>
            <a:ext cx="1307728" cy="199686"/>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336726780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Slide - blank - white logo">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9885B5BF-F4F3-40DA-8092-3A74A4DC907E}"/>
              </a:ext>
            </a:extLst>
          </p:cNvPr>
          <p:cNvSpPr>
            <a:spLocks noGrp="1"/>
          </p:cNvSpPr>
          <p:nvPr>
            <p:ph type="pic" sz="quarter" idx="19"/>
          </p:nvPr>
        </p:nvSpPr>
        <p:spPr>
          <a:xfrm>
            <a:off x="0" y="0"/>
            <a:ext cx="9144000" cy="5143500"/>
          </a:xfrm>
        </p:spPr>
        <p:txBody>
          <a:bodyPr/>
          <a:lstStyle>
            <a:lvl1pPr>
              <a:defRPr sz="1200"/>
            </a:lvl1pPr>
          </a:lstStyle>
          <a:p>
            <a:r>
              <a:rPr lang="de-DE"/>
              <a:t>Bild durch Klicken auf Symbol hinzufügen</a:t>
            </a:r>
            <a:endParaRPr lang="en-US"/>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p:txBody>
          <a:bodyPr/>
          <a:lstStyle>
            <a:lvl1pPr>
              <a:defRPr>
                <a:solidFill>
                  <a:schemeClr val="bg1"/>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p:txBody>
          <a:bodyPr/>
          <a:lstStyle>
            <a:lvl1pPr>
              <a:defRPr>
                <a:solidFill>
                  <a:schemeClr val="bg1"/>
                </a:solidFill>
              </a:defRPr>
            </a:lvl1pPr>
          </a:lstStyle>
          <a:p>
            <a:fld id="{FBE75FA5-C509-4590-93CE-878685F65CB2}" type="slidenum">
              <a:rPr lang="en-US" smtClean="0"/>
              <a:pPr/>
              <a:t>‹#›</a:t>
            </a:fld>
            <a:endParaRPr lang="en-US" dirty="0"/>
          </a:p>
        </p:txBody>
      </p:sp>
      <p:sp>
        <p:nvSpPr>
          <p:cNvPr id="9" name="Title 1">
            <a:extLst>
              <a:ext uri="{FF2B5EF4-FFF2-40B4-BE49-F238E27FC236}">
                <a16:creationId xmlns:a16="http://schemas.microsoft.com/office/drawing/2014/main" id="{B972DA9B-78AF-46FB-9998-CD89CB9DB792}"/>
              </a:ext>
            </a:extLst>
          </p:cNvPr>
          <p:cNvSpPr>
            <a:spLocks noGrp="1"/>
          </p:cNvSpPr>
          <p:nvPr>
            <p:ph type="title"/>
          </p:nvPr>
        </p:nvSpPr>
        <p:spPr>
          <a:xfrm>
            <a:off x="-3" y="196657"/>
            <a:ext cx="3810003" cy="2990851"/>
          </a:xfrm>
          <a:solidFill>
            <a:schemeClr val="tx2"/>
          </a:solidFill>
        </p:spPr>
        <p:txBody>
          <a:bodyPr lIns="216000" bIns="648000" anchor="b"/>
          <a:lstStyle>
            <a:lvl1pPr>
              <a:lnSpc>
                <a:spcPct val="100000"/>
              </a:lnSpc>
              <a:defRPr sz="3200">
                <a:solidFill>
                  <a:schemeClr val="bg2"/>
                </a:solidFill>
                <a:latin typeface="+mn-lt"/>
              </a:defRPr>
            </a:lvl1pPr>
          </a:lstStyle>
          <a:p>
            <a:r>
              <a:rPr lang="de-DE"/>
              <a:t>Mastertitelformat bearbeiten</a:t>
            </a:r>
            <a:endParaRPr lang="en-US" dirty="0"/>
          </a:p>
        </p:txBody>
      </p:sp>
      <p:sp>
        <p:nvSpPr>
          <p:cNvPr id="7" name="Text Placeholder 7">
            <a:extLst>
              <a:ext uri="{FF2B5EF4-FFF2-40B4-BE49-F238E27FC236}">
                <a16:creationId xmlns:a16="http://schemas.microsoft.com/office/drawing/2014/main" id="{A74895DF-D5A2-4C75-AF46-1018705EBDF9}"/>
              </a:ext>
            </a:extLst>
          </p:cNvPr>
          <p:cNvSpPr>
            <a:spLocks noGrp="1"/>
          </p:cNvSpPr>
          <p:nvPr>
            <p:ph type="body" sz="quarter" idx="23"/>
          </p:nvPr>
        </p:nvSpPr>
        <p:spPr>
          <a:xfrm>
            <a:off x="217612" y="559542"/>
            <a:ext cx="1307728" cy="199686"/>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529598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Slide - 1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85CF9-FFE6-4648-BEE2-D6136E7B3B0D}"/>
              </a:ext>
            </a:extLst>
          </p:cNvPr>
          <p:cNvSpPr>
            <a:spLocks noGrp="1"/>
          </p:cNvSpPr>
          <p:nvPr>
            <p:ph type="title"/>
          </p:nvPr>
        </p:nvSpPr>
        <p:spPr/>
        <p:txBody>
          <a:bodyPr/>
          <a:lstStyle/>
          <a:p>
            <a:r>
              <a:rPr lang="de-DE"/>
              <a:t>Mastertitelformat bearbeiten</a:t>
            </a:r>
            <a:endParaRPr lang="en-US" dirty="0"/>
          </a:p>
        </p:txBody>
      </p:sp>
      <p:sp>
        <p:nvSpPr>
          <p:cNvPr id="3" name="Content Placeholder 2">
            <a:extLst>
              <a:ext uri="{FF2B5EF4-FFF2-40B4-BE49-F238E27FC236}">
                <a16:creationId xmlns:a16="http://schemas.microsoft.com/office/drawing/2014/main" id="{080C2C51-4445-4D93-BACE-4CFDCCB7FA2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4">
            <a:extLst>
              <a:ext uri="{FF2B5EF4-FFF2-40B4-BE49-F238E27FC236}">
                <a16:creationId xmlns:a16="http://schemas.microsoft.com/office/drawing/2014/main" id="{E85587E9-3B31-4BBA-9208-9968E0312626}"/>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F7395CF-B38E-40B2-BA5E-70A3D16D1030}"/>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9" name="Text Placeholder 8">
            <a:extLst>
              <a:ext uri="{FF2B5EF4-FFF2-40B4-BE49-F238E27FC236}">
                <a16:creationId xmlns:a16="http://schemas.microsoft.com/office/drawing/2014/main" id="{3D96A739-E69D-4C67-9F5D-0C25BD28FC82}"/>
              </a:ext>
            </a:extLst>
          </p:cNvPr>
          <p:cNvSpPr>
            <a:spLocks noGrp="1"/>
          </p:cNvSpPr>
          <p:nvPr>
            <p:ph type="body" sz="quarter" idx="13"/>
          </p:nvPr>
        </p:nvSpPr>
        <p:spPr>
          <a:xfrm>
            <a:off x="215900" y="628595"/>
            <a:ext cx="8712000" cy="198259"/>
          </a:xfrm>
        </p:spPr>
        <p:txBody>
          <a:bodyPr>
            <a:noAutofit/>
          </a:bodyPr>
          <a:lstStyle>
            <a:lvl1pPr>
              <a:defRPr>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3938394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Slide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7CD5C-00B9-478F-8031-ACE7B3DE258A}"/>
              </a:ext>
            </a:extLst>
          </p:cNvPr>
          <p:cNvSpPr>
            <a:spLocks noGrp="1"/>
          </p:cNvSpPr>
          <p:nvPr>
            <p:ph type="title"/>
          </p:nvPr>
        </p:nvSpPr>
        <p:spPr>
          <a:xfrm>
            <a:off x="216000" y="196850"/>
            <a:ext cx="8712000" cy="360000"/>
          </a:xfrm>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8E2F82FC-C35F-46ED-AD87-89B2614658BB}"/>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50A13FB6-9905-465B-9833-AF58E1A3D491}"/>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Text Placeholder 8">
            <a:extLst>
              <a:ext uri="{FF2B5EF4-FFF2-40B4-BE49-F238E27FC236}">
                <a16:creationId xmlns:a16="http://schemas.microsoft.com/office/drawing/2014/main" id="{F3F4E569-E7EF-4B7D-A893-F2E38E7A5073}"/>
              </a:ext>
            </a:extLst>
          </p:cNvPr>
          <p:cNvSpPr>
            <a:spLocks noGrp="1"/>
          </p:cNvSpPr>
          <p:nvPr>
            <p:ph type="body" sz="quarter" idx="13"/>
          </p:nvPr>
        </p:nvSpPr>
        <p:spPr>
          <a:xfrm>
            <a:off x="216000" y="628595"/>
            <a:ext cx="8712000" cy="198259"/>
          </a:xfrm>
        </p:spPr>
        <p:txBody>
          <a:bodyPr>
            <a:noAutofit/>
          </a:bodyPr>
          <a:lstStyle>
            <a:lvl1pPr>
              <a:defRPr>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565268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Slide - Empt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7C59253-450D-4234-A5AF-24D980F9AE0A}"/>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D34FB15D-F74D-4DBD-A1A0-439A46FB6D43}"/>
              </a:ext>
            </a:extLst>
          </p:cNvPr>
          <p:cNvSpPr>
            <a:spLocks noGrp="1"/>
          </p:cNvSpPr>
          <p:nvPr>
            <p:ph type="sldNum" sz="quarter" idx="11"/>
          </p:nvPr>
        </p:nvSpPr>
        <p:spPr/>
        <p:txBody>
          <a:bodyPr/>
          <a:lstStyle/>
          <a:p>
            <a:fld id="{FBE75FA5-C509-4590-93CE-878685F65CB2}" type="slidenum">
              <a:rPr lang="en-US" smtClean="0"/>
              <a:pPr/>
              <a:t>‹#›</a:t>
            </a:fld>
            <a:endParaRPr lang="en-US" dirty="0"/>
          </a:p>
        </p:txBody>
      </p:sp>
    </p:spTree>
    <p:extLst>
      <p:ext uri="{BB962C8B-B14F-4D97-AF65-F5344CB8AC3E}">
        <p14:creationId xmlns:p14="http://schemas.microsoft.com/office/powerpoint/2010/main" val="316976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Slide -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27019-6590-46C6-88EF-E4D665D3BA19}"/>
              </a:ext>
            </a:extLst>
          </p:cNvPr>
          <p:cNvSpPr>
            <a:spLocks noGrp="1"/>
          </p:cNvSpPr>
          <p:nvPr>
            <p:ph type="title"/>
          </p:nvPr>
        </p:nvSpPr>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6DFF7D27-B8CB-4095-BFC7-B455915022D0}"/>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3B01458F-9C9B-415B-BBFA-307D00C1620A}"/>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Content Placeholder 2">
            <a:extLst>
              <a:ext uri="{FF2B5EF4-FFF2-40B4-BE49-F238E27FC236}">
                <a16:creationId xmlns:a16="http://schemas.microsoft.com/office/drawing/2014/main" id="{7872E452-B1AB-41CD-9D9F-BD0B444BC83F}"/>
              </a:ext>
            </a:extLst>
          </p:cNvPr>
          <p:cNvSpPr>
            <a:spLocks noGrp="1"/>
          </p:cNvSpPr>
          <p:nvPr>
            <p:ph sz="half" idx="1"/>
          </p:nvPr>
        </p:nvSpPr>
        <p:spPr>
          <a:xfrm>
            <a:off x="215900" y="1166814"/>
            <a:ext cx="4176100" cy="34210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Placeholder 3">
            <a:extLst>
              <a:ext uri="{FF2B5EF4-FFF2-40B4-BE49-F238E27FC236}">
                <a16:creationId xmlns:a16="http://schemas.microsoft.com/office/drawing/2014/main" id="{319FB648-DE14-45A5-9341-F57AEA10F89A}"/>
              </a:ext>
            </a:extLst>
          </p:cNvPr>
          <p:cNvSpPr>
            <a:spLocks noGrp="1"/>
          </p:cNvSpPr>
          <p:nvPr>
            <p:ph sz="half" idx="2"/>
          </p:nvPr>
        </p:nvSpPr>
        <p:spPr>
          <a:xfrm>
            <a:off x="4752000" y="1166813"/>
            <a:ext cx="4177688" cy="34210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ext Placeholder 8">
            <a:extLst>
              <a:ext uri="{FF2B5EF4-FFF2-40B4-BE49-F238E27FC236}">
                <a16:creationId xmlns:a16="http://schemas.microsoft.com/office/drawing/2014/main" id="{2816CC8D-B8CA-4FA3-85AF-DD78AF597AF2}"/>
              </a:ext>
            </a:extLst>
          </p:cNvPr>
          <p:cNvSpPr>
            <a:spLocks noGrp="1"/>
          </p:cNvSpPr>
          <p:nvPr>
            <p:ph type="body" sz="quarter" idx="13"/>
          </p:nvPr>
        </p:nvSpPr>
        <p:spPr>
          <a:xfrm>
            <a:off x="215900" y="628595"/>
            <a:ext cx="8712000" cy="198259"/>
          </a:xfrm>
        </p:spPr>
        <p:txBody>
          <a:bodyPr>
            <a:noAutofit/>
          </a:bodyPr>
          <a:lstStyle>
            <a:lvl1pPr>
              <a:defRPr>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2815213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Slide - 2 content w.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0BF1A-12FF-4D86-9EB2-02ACA0AA8355}"/>
              </a:ext>
            </a:extLst>
          </p:cNvPr>
          <p:cNvSpPr>
            <a:spLocks noGrp="1"/>
          </p:cNvSpPr>
          <p:nvPr>
            <p:ph type="title"/>
          </p:nvPr>
        </p:nvSpPr>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F4516CDA-F1F2-4208-94F3-F268851186D4}"/>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2B084E1D-1D5C-445E-AADF-B124C7901519}"/>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Text Placeholder 8">
            <a:extLst>
              <a:ext uri="{FF2B5EF4-FFF2-40B4-BE49-F238E27FC236}">
                <a16:creationId xmlns:a16="http://schemas.microsoft.com/office/drawing/2014/main" id="{82FA900A-93E9-4914-A1D4-9AE2FC49494B}"/>
              </a:ext>
            </a:extLst>
          </p:cNvPr>
          <p:cNvSpPr>
            <a:spLocks noGrp="1"/>
          </p:cNvSpPr>
          <p:nvPr>
            <p:ph type="body" sz="quarter" idx="13"/>
          </p:nvPr>
        </p:nvSpPr>
        <p:spPr>
          <a:xfrm>
            <a:off x="215900" y="628595"/>
            <a:ext cx="8712000" cy="198259"/>
          </a:xfrm>
        </p:spPr>
        <p:txBody>
          <a:bodyPr>
            <a:noAutofit/>
          </a:bodyPr>
          <a:lstStyle>
            <a:lvl1pPr>
              <a:defRPr>
                <a:solidFill>
                  <a:schemeClr val="accent1"/>
                </a:solidFill>
              </a:defRPr>
            </a:lvl1pPr>
          </a:lstStyle>
          <a:p>
            <a:pPr lvl="0"/>
            <a:r>
              <a:rPr lang="de-DE"/>
              <a:t>Mastertextformat bearbeiten</a:t>
            </a:r>
          </a:p>
        </p:txBody>
      </p:sp>
      <p:sp>
        <p:nvSpPr>
          <p:cNvPr id="6" name="Content Placeholder 2">
            <a:extLst>
              <a:ext uri="{FF2B5EF4-FFF2-40B4-BE49-F238E27FC236}">
                <a16:creationId xmlns:a16="http://schemas.microsoft.com/office/drawing/2014/main" id="{AF1356DE-EC24-4D90-ADE6-C9F51841E0D3}"/>
              </a:ext>
            </a:extLst>
          </p:cNvPr>
          <p:cNvSpPr>
            <a:spLocks noGrp="1"/>
          </p:cNvSpPr>
          <p:nvPr>
            <p:ph sz="half" idx="1"/>
          </p:nvPr>
        </p:nvSpPr>
        <p:spPr>
          <a:xfrm>
            <a:off x="217612" y="1487055"/>
            <a:ext cx="4174388" cy="310717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3">
            <a:extLst>
              <a:ext uri="{FF2B5EF4-FFF2-40B4-BE49-F238E27FC236}">
                <a16:creationId xmlns:a16="http://schemas.microsoft.com/office/drawing/2014/main" id="{BC5CE721-3B3A-4271-AAB3-DC310304082E}"/>
              </a:ext>
            </a:extLst>
          </p:cNvPr>
          <p:cNvSpPr>
            <a:spLocks noGrp="1"/>
          </p:cNvSpPr>
          <p:nvPr>
            <p:ph sz="half" idx="2"/>
          </p:nvPr>
        </p:nvSpPr>
        <p:spPr>
          <a:xfrm>
            <a:off x="4752000" y="1487055"/>
            <a:ext cx="4177688" cy="309923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 Placeholder 8">
            <a:extLst>
              <a:ext uri="{FF2B5EF4-FFF2-40B4-BE49-F238E27FC236}">
                <a16:creationId xmlns:a16="http://schemas.microsoft.com/office/drawing/2014/main" id="{E9C53D2C-F5A8-465B-9C51-0A1F58DE18A9}"/>
              </a:ext>
            </a:extLst>
          </p:cNvPr>
          <p:cNvSpPr>
            <a:spLocks noGrp="1"/>
          </p:cNvSpPr>
          <p:nvPr>
            <p:ph type="body" sz="quarter" idx="14"/>
          </p:nvPr>
        </p:nvSpPr>
        <p:spPr>
          <a:xfrm>
            <a:off x="217612" y="1167993"/>
            <a:ext cx="4174388" cy="198259"/>
          </a:xfrm>
        </p:spPr>
        <p:txBody>
          <a:bodyPr>
            <a:noAutofit/>
          </a:bodyPr>
          <a:lstStyle>
            <a:lvl1pPr>
              <a:defRPr b="1">
                <a:solidFill>
                  <a:schemeClr val="tx2"/>
                </a:solidFill>
              </a:defRPr>
            </a:lvl1pPr>
          </a:lstStyle>
          <a:p>
            <a:pPr lvl="0"/>
            <a:r>
              <a:rPr lang="de-DE"/>
              <a:t>Mastertextformat bearbeiten</a:t>
            </a:r>
          </a:p>
        </p:txBody>
      </p:sp>
      <p:sp>
        <p:nvSpPr>
          <p:cNvPr id="9" name="Text Placeholder 8">
            <a:extLst>
              <a:ext uri="{FF2B5EF4-FFF2-40B4-BE49-F238E27FC236}">
                <a16:creationId xmlns:a16="http://schemas.microsoft.com/office/drawing/2014/main" id="{2426E846-140F-4882-9323-8C28375B6562}"/>
              </a:ext>
            </a:extLst>
          </p:cNvPr>
          <p:cNvSpPr>
            <a:spLocks noGrp="1"/>
          </p:cNvSpPr>
          <p:nvPr>
            <p:ph type="body" sz="quarter" idx="15"/>
          </p:nvPr>
        </p:nvSpPr>
        <p:spPr>
          <a:xfrm>
            <a:off x="4752000" y="1169184"/>
            <a:ext cx="4174388" cy="198259"/>
          </a:xfrm>
        </p:spPr>
        <p:txBody>
          <a:bodyPr>
            <a:noAutofit/>
          </a:bodyPr>
          <a:lstStyle>
            <a:lvl1pPr>
              <a:defRPr b="1">
                <a:solidFill>
                  <a:schemeClr val="tx2"/>
                </a:solidFill>
              </a:defRPr>
            </a:lvl1pPr>
          </a:lstStyle>
          <a:p>
            <a:pPr lvl="0"/>
            <a:r>
              <a:rPr lang="de-DE"/>
              <a:t>Mastertextformat bearbeiten</a:t>
            </a:r>
          </a:p>
        </p:txBody>
      </p:sp>
    </p:spTree>
    <p:extLst>
      <p:ext uri="{BB962C8B-B14F-4D97-AF65-F5344CB8AC3E}">
        <p14:creationId xmlns:p14="http://schemas.microsoft.com/office/powerpoint/2010/main" val="39108058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ntent Slide, big picture, white logo">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6E38119-9F70-498B-A240-B89F427F21E8}"/>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6BF9B041-296C-4EFA-A015-75498EE9859E}"/>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Picture Placeholder 7">
            <a:extLst>
              <a:ext uri="{FF2B5EF4-FFF2-40B4-BE49-F238E27FC236}">
                <a16:creationId xmlns:a16="http://schemas.microsoft.com/office/drawing/2014/main" id="{34374292-35AC-4367-9253-25E265627CDF}"/>
              </a:ext>
            </a:extLst>
          </p:cNvPr>
          <p:cNvSpPr>
            <a:spLocks noGrp="1"/>
          </p:cNvSpPr>
          <p:nvPr>
            <p:ph type="pic" sz="quarter" idx="18"/>
          </p:nvPr>
        </p:nvSpPr>
        <p:spPr>
          <a:xfrm>
            <a:off x="4572000" y="1"/>
            <a:ext cx="4579438" cy="5143500"/>
          </a:xfrm>
          <a:blipFill>
            <a:blip r:embed="rId2"/>
            <a:stretch>
              <a:fillRect/>
            </a:stretch>
          </a:blipFill>
        </p:spPr>
        <p:txBody>
          <a:bodyPr/>
          <a:lstStyle/>
          <a:p>
            <a:r>
              <a:rPr lang="de-DE"/>
              <a:t>Bild durch Klicken auf Symbol hinzufügen</a:t>
            </a:r>
            <a:endParaRPr lang="en-US"/>
          </a:p>
        </p:txBody>
      </p:sp>
      <p:sp>
        <p:nvSpPr>
          <p:cNvPr id="7" name="Title 1">
            <a:extLst>
              <a:ext uri="{FF2B5EF4-FFF2-40B4-BE49-F238E27FC236}">
                <a16:creationId xmlns:a16="http://schemas.microsoft.com/office/drawing/2014/main" id="{F1D3899E-4164-44A1-821A-A34F88A7C7CB}"/>
              </a:ext>
            </a:extLst>
          </p:cNvPr>
          <p:cNvSpPr>
            <a:spLocks noGrp="1"/>
          </p:cNvSpPr>
          <p:nvPr>
            <p:ph type="title"/>
          </p:nvPr>
        </p:nvSpPr>
        <p:spPr>
          <a:xfrm>
            <a:off x="215901" y="196850"/>
            <a:ext cx="4176000" cy="360000"/>
          </a:xfrm>
        </p:spPr>
        <p:txBody>
          <a:bodyPr/>
          <a:lstStyle/>
          <a:p>
            <a:r>
              <a:rPr lang="de-DE"/>
              <a:t>Mastertitelformat bearbeiten</a:t>
            </a:r>
            <a:endParaRPr lang="en-US" dirty="0"/>
          </a:p>
        </p:txBody>
      </p:sp>
      <p:sp>
        <p:nvSpPr>
          <p:cNvPr id="8" name="Content Placeholder 8">
            <a:extLst>
              <a:ext uri="{FF2B5EF4-FFF2-40B4-BE49-F238E27FC236}">
                <a16:creationId xmlns:a16="http://schemas.microsoft.com/office/drawing/2014/main" id="{A599FB72-5AFC-4AD2-9BFD-26B43C844F87}"/>
              </a:ext>
            </a:extLst>
          </p:cNvPr>
          <p:cNvSpPr>
            <a:spLocks noGrp="1"/>
          </p:cNvSpPr>
          <p:nvPr>
            <p:ph sz="quarter" idx="14"/>
          </p:nvPr>
        </p:nvSpPr>
        <p:spPr>
          <a:xfrm>
            <a:off x="215901" y="1166813"/>
            <a:ext cx="4176000" cy="34210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a:extLst>
              <a:ext uri="{FF2B5EF4-FFF2-40B4-BE49-F238E27FC236}">
                <a16:creationId xmlns:a16="http://schemas.microsoft.com/office/drawing/2014/main" id="{546E1C6B-A689-4837-BB5A-F956EFC8CCD3}"/>
              </a:ext>
            </a:extLst>
          </p:cNvPr>
          <p:cNvSpPr>
            <a:spLocks noGrp="1"/>
          </p:cNvSpPr>
          <p:nvPr>
            <p:ph type="body" sz="quarter" idx="15"/>
          </p:nvPr>
        </p:nvSpPr>
        <p:spPr>
          <a:xfrm>
            <a:off x="215901" y="628595"/>
            <a:ext cx="4176000" cy="198000"/>
          </a:xfrm>
        </p:spPr>
        <p:txBody>
          <a:bodyPr>
            <a:noAutofit/>
          </a:bodyPr>
          <a:lstStyle>
            <a:lvl1pPr>
              <a:defRPr>
                <a:solidFill>
                  <a:schemeClr val="accent1"/>
                </a:solidFill>
              </a:defRPr>
            </a:lvl1pPr>
          </a:lstStyle>
          <a:p>
            <a:pPr lvl="0"/>
            <a:r>
              <a:rPr lang="de-DE"/>
              <a:t>Mastertextformat bearbeiten</a:t>
            </a:r>
          </a:p>
        </p:txBody>
      </p:sp>
      <p:sp>
        <p:nvSpPr>
          <p:cNvPr id="11" name="Text Placeholder 7">
            <a:extLst>
              <a:ext uri="{FF2B5EF4-FFF2-40B4-BE49-F238E27FC236}">
                <a16:creationId xmlns:a16="http://schemas.microsoft.com/office/drawing/2014/main" id="{342BC387-CF1D-4809-9237-02B1FD5965BA}"/>
              </a:ext>
            </a:extLst>
          </p:cNvPr>
          <p:cNvSpPr>
            <a:spLocks noGrp="1"/>
          </p:cNvSpPr>
          <p:nvPr>
            <p:ph type="body" sz="quarter" idx="23"/>
          </p:nvPr>
        </p:nvSpPr>
        <p:spPr>
          <a:xfrm>
            <a:off x="7856907" y="4784670"/>
            <a:ext cx="1071193" cy="163568"/>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2878136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Slide, big picture, blue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DBCF1-E3A3-4C30-968C-CFD49D84D55F}"/>
              </a:ext>
            </a:extLst>
          </p:cNvPr>
          <p:cNvSpPr>
            <a:spLocks noGrp="1"/>
          </p:cNvSpPr>
          <p:nvPr>
            <p:ph type="title"/>
          </p:nvPr>
        </p:nvSpPr>
        <p:spPr>
          <a:xfrm>
            <a:off x="215901" y="196850"/>
            <a:ext cx="4176000" cy="360000"/>
          </a:xfrm>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9CE55C7B-E316-4E16-B76D-ECEF793CC2C2}"/>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2FD09904-C84B-4228-8500-CF0411E289FA}"/>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Picture Placeholder 7">
            <a:extLst>
              <a:ext uri="{FF2B5EF4-FFF2-40B4-BE49-F238E27FC236}">
                <a16:creationId xmlns:a16="http://schemas.microsoft.com/office/drawing/2014/main" id="{2635A906-D4B4-44FE-BCC2-69B24991E1BF}"/>
              </a:ext>
            </a:extLst>
          </p:cNvPr>
          <p:cNvSpPr>
            <a:spLocks noGrp="1"/>
          </p:cNvSpPr>
          <p:nvPr>
            <p:ph type="pic" sz="quarter" idx="18"/>
          </p:nvPr>
        </p:nvSpPr>
        <p:spPr>
          <a:xfrm>
            <a:off x="4572000" y="2398"/>
            <a:ext cx="4572000" cy="5143500"/>
          </a:xfrm>
          <a:blipFill>
            <a:blip r:embed="rId2"/>
            <a:stretch>
              <a:fillRect/>
            </a:stretch>
          </a:blipFill>
        </p:spPr>
        <p:txBody>
          <a:bodyPr/>
          <a:lstStyle>
            <a:lvl1pPr>
              <a:defRPr sz="400"/>
            </a:lvl1pPr>
          </a:lstStyle>
          <a:p>
            <a:r>
              <a:rPr lang="de-DE"/>
              <a:t>Bild durch Klicken auf Symbol hinzufügen</a:t>
            </a:r>
            <a:endParaRPr lang="en-US" dirty="0"/>
          </a:p>
        </p:txBody>
      </p:sp>
      <p:sp>
        <p:nvSpPr>
          <p:cNvPr id="6" name="Content Placeholder 8">
            <a:extLst>
              <a:ext uri="{FF2B5EF4-FFF2-40B4-BE49-F238E27FC236}">
                <a16:creationId xmlns:a16="http://schemas.microsoft.com/office/drawing/2014/main" id="{473AA665-70E7-4B12-B888-A42E9490E2B0}"/>
              </a:ext>
            </a:extLst>
          </p:cNvPr>
          <p:cNvSpPr>
            <a:spLocks noGrp="1"/>
          </p:cNvSpPr>
          <p:nvPr>
            <p:ph sz="quarter" idx="14"/>
          </p:nvPr>
        </p:nvSpPr>
        <p:spPr>
          <a:xfrm>
            <a:off x="215901" y="1166813"/>
            <a:ext cx="4176000" cy="34210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ext Placeholder 8">
            <a:extLst>
              <a:ext uri="{FF2B5EF4-FFF2-40B4-BE49-F238E27FC236}">
                <a16:creationId xmlns:a16="http://schemas.microsoft.com/office/drawing/2014/main" id="{0DAD492D-D62C-4965-9746-CDA3DD812E35}"/>
              </a:ext>
            </a:extLst>
          </p:cNvPr>
          <p:cNvSpPr>
            <a:spLocks noGrp="1"/>
          </p:cNvSpPr>
          <p:nvPr>
            <p:ph type="body" sz="quarter" idx="15"/>
          </p:nvPr>
        </p:nvSpPr>
        <p:spPr>
          <a:xfrm>
            <a:off x="215901" y="628595"/>
            <a:ext cx="4176000" cy="198000"/>
          </a:xfrm>
        </p:spPr>
        <p:txBody>
          <a:bodyPr>
            <a:noAutofit/>
          </a:bodyPr>
          <a:lstStyle>
            <a:lvl1pPr>
              <a:defRPr>
                <a:solidFill>
                  <a:schemeClr val="accent1"/>
                </a:solidFill>
              </a:defRPr>
            </a:lvl1pPr>
          </a:lstStyle>
          <a:p>
            <a:pPr lvl="0"/>
            <a:r>
              <a:rPr lang="de-DE"/>
              <a:t>Mastertextformat bearbeiten</a:t>
            </a:r>
          </a:p>
        </p:txBody>
      </p:sp>
      <p:sp>
        <p:nvSpPr>
          <p:cNvPr id="10" name="Text Placeholder 7">
            <a:extLst>
              <a:ext uri="{FF2B5EF4-FFF2-40B4-BE49-F238E27FC236}">
                <a16:creationId xmlns:a16="http://schemas.microsoft.com/office/drawing/2014/main" id="{104BC9FB-6ABB-47DF-94D2-9C8D7725D6C9}"/>
              </a:ext>
            </a:extLst>
          </p:cNvPr>
          <p:cNvSpPr>
            <a:spLocks noGrp="1"/>
          </p:cNvSpPr>
          <p:nvPr>
            <p:ph type="body" sz="quarter" idx="23"/>
          </p:nvPr>
        </p:nvSpPr>
        <p:spPr>
          <a:xfrm>
            <a:off x="7852811" y="4784306"/>
            <a:ext cx="1073577" cy="163932"/>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24216755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8529B80-C143-4FC5-88E6-F4572FD52D4D}"/>
              </a:ext>
            </a:extLst>
          </p:cNvPr>
          <p:cNvSpPr>
            <a:spLocks noGrp="1"/>
          </p:cNvSpPr>
          <p:nvPr>
            <p:ph type="pic" sz="quarter" idx="13"/>
          </p:nvPr>
        </p:nvSpPr>
        <p:spPr>
          <a:xfrm>
            <a:off x="0" y="5"/>
            <a:ext cx="9144000" cy="5143500"/>
          </a:xfrm>
          <a:blipFill>
            <a:blip r:embed="rId2"/>
            <a:stretch>
              <a:fillRect/>
            </a:stretch>
          </a:blipFill>
        </p:spPr>
        <p:txBody>
          <a:bodyPr/>
          <a:lstStyle>
            <a:lvl1pPr>
              <a:defRPr sz="100">
                <a:noFill/>
              </a:defRPr>
            </a:lvl1pPr>
          </a:lstStyle>
          <a:p>
            <a:r>
              <a:rPr lang="de-DE"/>
              <a:t>Bild durch Klicken auf Symbol hinzufügen</a:t>
            </a:r>
            <a:endParaRPr lang="en-US" dirty="0"/>
          </a:p>
        </p:txBody>
      </p:sp>
      <p:sp>
        <p:nvSpPr>
          <p:cNvPr id="5" name="Footer Placeholder 4">
            <a:extLst>
              <a:ext uri="{FF2B5EF4-FFF2-40B4-BE49-F238E27FC236}">
                <a16:creationId xmlns:a16="http://schemas.microsoft.com/office/drawing/2014/main" id="{2FE804F9-626A-46E9-9608-08B25EE71066}"/>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274C594-B7AA-4F15-BF7A-E391D31ABE59}"/>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2" name="Title 1">
            <a:extLst>
              <a:ext uri="{FF2B5EF4-FFF2-40B4-BE49-F238E27FC236}">
                <a16:creationId xmlns:a16="http://schemas.microsoft.com/office/drawing/2014/main" id="{EB3E9D7F-B3AD-4DD6-AB7C-B23AE4EDBF80}"/>
              </a:ext>
            </a:extLst>
          </p:cNvPr>
          <p:cNvSpPr>
            <a:spLocks noGrp="1"/>
          </p:cNvSpPr>
          <p:nvPr>
            <p:ph type="title" hasCustomPrompt="1"/>
          </p:nvPr>
        </p:nvSpPr>
        <p:spPr>
          <a:xfrm>
            <a:off x="0" y="334800"/>
            <a:ext cx="4571999" cy="3595254"/>
          </a:xfrm>
          <a:solidFill>
            <a:schemeClr val="bg2"/>
          </a:solidFill>
        </p:spPr>
        <p:txBody>
          <a:bodyPr lIns="216000" rIns="108000" bIns="1299600" anchor="b" anchorCtr="0"/>
          <a:lstStyle>
            <a:lvl1pPr>
              <a:lnSpc>
                <a:spcPct val="100000"/>
              </a:lnSpc>
              <a:defRPr sz="3200">
                <a:solidFill>
                  <a:schemeClr val="tx2"/>
                </a:solidFill>
              </a:defRPr>
            </a:lvl1pPr>
          </a:lstStyle>
          <a:p>
            <a:r>
              <a:rPr lang="en-US" dirty="0"/>
              <a:t>Click to edit </a:t>
            </a:r>
            <a:br>
              <a:rPr lang="en-US" dirty="0"/>
            </a:br>
            <a:r>
              <a:rPr lang="en-US" dirty="0"/>
              <a:t>Master title </a:t>
            </a:r>
            <a:br>
              <a:rPr lang="en-US" dirty="0"/>
            </a:br>
            <a:r>
              <a:rPr lang="en-US" dirty="0"/>
              <a:t>style</a:t>
            </a:r>
          </a:p>
        </p:txBody>
      </p:sp>
      <p:sp>
        <p:nvSpPr>
          <p:cNvPr id="3" name="Subtitle 2">
            <a:extLst>
              <a:ext uri="{FF2B5EF4-FFF2-40B4-BE49-F238E27FC236}">
                <a16:creationId xmlns:a16="http://schemas.microsoft.com/office/drawing/2014/main" id="{21FACA36-DE8E-4683-958C-35C12B2FDD98}"/>
              </a:ext>
            </a:extLst>
          </p:cNvPr>
          <p:cNvSpPr>
            <a:spLocks noGrp="1"/>
          </p:cNvSpPr>
          <p:nvPr>
            <p:ph type="subTitle" idx="1"/>
          </p:nvPr>
        </p:nvSpPr>
        <p:spPr>
          <a:xfrm>
            <a:off x="217303" y="2710800"/>
            <a:ext cx="4032000" cy="406800"/>
          </a:xfrm>
        </p:spPr>
        <p:txBody>
          <a:bodyPr>
            <a:no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3" name="Text Placeholder 15">
            <a:extLst>
              <a:ext uri="{FF2B5EF4-FFF2-40B4-BE49-F238E27FC236}">
                <a16:creationId xmlns:a16="http://schemas.microsoft.com/office/drawing/2014/main" id="{D84BA449-3A01-4C0F-978B-7526745085B3}"/>
              </a:ext>
            </a:extLst>
          </p:cNvPr>
          <p:cNvSpPr>
            <a:spLocks noGrp="1"/>
          </p:cNvSpPr>
          <p:nvPr>
            <p:ph type="body" sz="quarter" idx="16" hasCustomPrompt="1"/>
          </p:nvPr>
        </p:nvSpPr>
        <p:spPr>
          <a:xfrm>
            <a:off x="217303" y="3259183"/>
            <a:ext cx="4032000" cy="138499"/>
          </a:xfrm>
        </p:spPr>
        <p:txBody>
          <a:bodyPr anchor="t" anchorCtr="0">
            <a:noAutofit/>
          </a:bodyPr>
          <a:lstStyle>
            <a:lvl1pPr>
              <a:defRPr sz="900"/>
            </a:lvl1pPr>
          </a:lstStyle>
          <a:p>
            <a:pPr lvl="0"/>
            <a:r>
              <a:rPr lang="en-US" dirty="0"/>
              <a:t>Presenter Name – </a:t>
            </a:r>
          </a:p>
        </p:txBody>
      </p:sp>
      <p:sp>
        <p:nvSpPr>
          <p:cNvPr id="14" name="Text Placeholder 15">
            <a:extLst>
              <a:ext uri="{FF2B5EF4-FFF2-40B4-BE49-F238E27FC236}">
                <a16:creationId xmlns:a16="http://schemas.microsoft.com/office/drawing/2014/main" id="{6ADFC408-9075-4F78-9D79-A2CA9F6CB059}"/>
              </a:ext>
            </a:extLst>
          </p:cNvPr>
          <p:cNvSpPr>
            <a:spLocks noGrp="1"/>
          </p:cNvSpPr>
          <p:nvPr>
            <p:ph type="body" sz="quarter" idx="21" hasCustomPrompt="1"/>
          </p:nvPr>
        </p:nvSpPr>
        <p:spPr>
          <a:xfrm>
            <a:off x="217303" y="3427441"/>
            <a:ext cx="4032000" cy="138499"/>
          </a:xfrm>
        </p:spPr>
        <p:txBody>
          <a:bodyPr anchor="t" anchorCtr="0">
            <a:noAutofit/>
          </a:bodyPr>
          <a:lstStyle>
            <a:lvl1pPr>
              <a:defRPr sz="900"/>
            </a:lvl1pPr>
          </a:lstStyle>
          <a:p>
            <a:pPr lvl="0"/>
            <a:r>
              <a:rPr lang="en-US" dirty="0"/>
              <a:t>Presenter Title – </a:t>
            </a:r>
          </a:p>
        </p:txBody>
      </p:sp>
      <p:sp>
        <p:nvSpPr>
          <p:cNvPr id="15" name="Text Placeholder 15">
            <a:extLst>
              <a:ext uri="{FF2B5EF4-FFF2-40B4-BE49-F238E27FC236}">
                <a16:creationId xmlns:a16="http://schemas.microsoft.com/office/drawing/2014/main" id="{B00BA07A-DE1D-4FAE-A4FF-A934E3F44754}"/>
              </a:ext>
            </a:extLst>
          </p:cNvPr>
          <p:cNvSpPr>
            <a:spLocks noGrp="1"/>
          </p:cNvSpPr>
          <p:nvPr>
            <p:ph type="body" sz="quarter" idx="22" hasCustomPrompt="1"/>
          </p:nvPr>
        </p:nvSpPr>
        <p:spPr>
          <a:xfrm>
            <a:off x="217303" y="3595699"/>
            <a:ext cx="4032000" cy="138499"/>
          </a:xfrm>
        </p:spPr>
        <p:txBody>
          <a:bodyPr anchor="t" anchorCtr="0">
            <a:noAutofit/>
          </a:bodyPr>
          <a:lstStyle>
            <a:lvl1pPr>
              <a:defRPr sz="900"/>
            </a:lvl1pPr>
          </a:lstStyle>
          <a:p>
            <a:pPr lvl="0"/>
            <a:r>
              <a:rPr lang="en-US" dirty="0"/>
              <a:t>Date – </a:t>
            </a:r>
          </a:p>
        </p:txBody>
      </p:sp>
      <p:sp>
        <p:nvSpPr>
          <p:cNvPr id="11" name="Text Placeholder 7">
            <a:extLst>
              <a:ext uri="{FF2B5EF4-FFF2-40B4-BE49-F238E27FC236}">
                <a16:creationId xmlns:a16="http://schemas.microsoft.com/office/drawing/2014/main" id="{DEA2E907-00A4-4BFE-B5C1-855814E6F813}"/>
              </a:ext>
            </a:extLst>
          </p:cNvPr>
          <p:cNvSpPr>
            <a:spLocks noGrp="1"/>
          </p:cNvSpPr>
          <p:nvPr>
            <p:ph type="body" sz="quarter" idx="23"/>
          </p:nvPr>
        </p:nvSpPr>
        <p:spPr>
          <a:xfrm>
            <a:off x="218232" y="561822"/>
            <a:ext cx="1307728" cy="199686"/>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3611127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Slide - 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2772E-6448-490C-A488-BE0165B07D39}"/>
              </a:ext>
            </a:extLst>
          </p:cNvPr>
          <p:cNvSpPr>
            <a:spLocks noGrp="1"/>
          </p:cNvSpPr>
          <p:nvPr>
            <p:ph type="title"/>
          </p:nvPr>
        </p:nvSpPr>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27A3048A-F4AB-4310-B65E-D9B67C896310}"/>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27D23966-9079-4A56-9BAF-BDF054C09E9D}"/>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Content Placeholder 2">
            <a:extLst>
              <a:ext uri="{FF2B5EF4-FFF2-40B4-BE49-F238E27FC236}">
                <a16:creationId xmlns:a16="http://schemas.microsoft.com/office/drawing/2014/main" id="{2DFE6DF6-8959-4AB8-88EC-1976DE3517FC}"/>
              </a:ext>
            </a:extLst>
          </p:cNvPr>
          <p:cNvSpPr>
            <a:spLocks noGrp="1"/>
          </p:cNvSpPr>
          <p:nvPr>
            <p:ph sz="half" idx="1"/>
          </p:nvPr>
        </p:nvSpPr>
        <p:spPr>
          <a:xfrm>
            <a:off x="218836" y="1166813"/>
            <a:ext cx="2807221" cy="3421062"/>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Placeholder 3">
            <a:extLst>
              <a:ext uri="{FF2B5EF4-FFF2-40B4-BE49-F238E27FC236}">
                <a16:creationId xmlns:a16="http://schemas.microsoft.com/office/drawing/2014/main" id="{7451ADD9-A8DD-422F-9524-350C8E9E5969}"/>
              </a:ext>
            </a:extLst>
          </p:cNvPr>
          <p:cNvSpPr>
            <a:spLocks noGrp="1"/>
          </p:cNvSpPr>
          <p:nvPr>
            <p:ph sz="half" idx="2"/>
          </p:nvPr>
        </p:nvSpPr>
        <p:spPr>
          <a:xfrm>
            <a:off x="6119690" y="1166813"/>
            <a:ext cx="2807221" cy="3421062"/>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2">
            <a:extLst>
              <a:ext uri="{FF2B5EF4-FFF2-40B4-BE49-F238E27FC236}">
                <a16:creationId xmlns:a16="http://schemas.microsoft.com/office/drawing/2014/main" id="{EE9C534D-AFFE-4856-ADA2-CD0AB94B74D5}"/>
              </a:ext>
            </a:extLst>
          </p:cNvPr>
          <p:cNvSpPr>
            <a:spLocks noGrp="1"/>
          </p:cNvSpPr>
          <p:nvPr>
            <p:ph sz="half" idx="14"/>
          </p:nvPr>
        </p:nvSpPr>
        <p:spPr>
          <a:xfrm>
            <a:off x="3170057" y="1166813"/>
            <a:ext cx="2807221" cy="3421062"/>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 Placeholder 8">
            <a:extLst>
              <a:ext uri="{FF2B5EF4-FFF2-40B4-BE49-F238E27FC236}">
                <a16:creationId xmlns:a16="http://schemas.microsoft.com/office/drawing/2014/main" id="{CB2E290F-F51F-4570-9BF5-4B6D03D627D6}"/>
              </a:ext>
            </a:extLst>
          </p:cNvPr>
          <p:cNvSpPr>
            <a:spLocks noGrp="1"/>
          </p:cNvSpPr>
          <p:nvPr>
            <p:ph type="body" sz="quarter" idx="13"/>
          </p:nvPr>
        </p:nvSpPr>
        <p:spPr>
          <a:xfrm>
            <a:off x="215900" y="628595"/>
            <a:ext cx="8712000" cy="198259"/>
          </a:xfrm>
        </p:spPr>
        <p:txBody>
          <a:bodyPr>
            <a:noAutofit/>
          </a:bodyPr>
          <a:lstStyle>
            <a:lvl1pPr>
              <a:defRPr>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2179294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Slide - 4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572DC-D1B5-46E9-87CD-AA91D1986D03}"/>
              </a:ext>
            </a:extLst>
          </p:cNvPr>
          <p:cNvSpPr>
            <a:spLocks noGrp="1"/>
          </p:cNvSpPr>
          <p:nvPr>
            <p:ph type="title"/>
          </p:nvPr>
        </p:nvSpPr>
        <p:spPr/>
        <p:txBody>
          <a:bodyPr/>
          <a:lstStyle/>
          <a:p>
            <a:r>
              <a:rPr lang="de-DE"/>
              <a:t>Mastertitelformat bearbeiten</a:t>
            </a:r>
            <a:endParaRPr lang="en-US" dirty="0"/>
          </a:p>
        </p:txBody>
      </p:sp>
      <p:sp>
        <p:nvSpPr>
          <p:cNvPr id="3" name="Footer Placeholder 2">
            <a:extLst>
              <a:ext uri="{FF2B5EF4-FFF2-40B4-BE49-F238E27FC236}">
                <a16:creationId xmlns:a16="http://schemas.microsoft.com/office/drawing/2014/main" id="{1348595E-6CDC-4946-941D-F91BF4132354}"/>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4E1F951C-3C4C-412E-A6C2-4232424A0E4E}"/>
              </a:ext>
            </a:extLst>
          </p:cNvPr>
          <p:cNvSpPr>
            <a:spLocks noGrp="1"/>
          </p:cNvSpPr>
          <p:nvPr>
            <p:ph type="sldNum" sz="quarter" idx="11"/>
          </p:nvPr>
        </p:nvSpPr>
        <p:spPr/>
        <p:txBody>
          <a:bodyPr/>
          <a:lstStyle/>
          <a:p>
            <a:fld id="{FBE75FA5-C509-4590-93CE-878685F65CB2}" type="slidenum">
              <a:rPr lang="en-US" smtClean="0"/>
              <a:pPr/>
              <a:t>‹#›</a:t>
            </a:fld>
            <a:endParaRPr lang="en-US" dirty="0"/>
          </a:p>
        </p:txBody>
      </p:sp>
      <p:sp>
        <p:nvSpPr>
          <p:cNvPr id="5" name="Content Placeholder 2">
            <a:extLst>
              <a:ext uri="{FF2B5EF4-FFF2-40B4-BE49-F238E27FC236}">
                <a16:creationId xmlns:a16="http://schemas.microsoft.com/office/drawing/2014/main" id="{9494493C-B5F1-4BB9-8A57-71815783498B}"/>
              </a:ext>
            </a:extLst>
          </p:cNvPr>
          <p:cNvSpPr>
            <a:spLocks noGrp="1"/>
          </p:cNvSpPr>
          <p:nvPr>
            <p:ph sz="half" idx="1"/>
          </p:nvPr>
        </p:nvSpPr>
        <p:spPr>
          <a:xfrm>
            <a:off x="219074" y="1166813"/>
            <a:ext cx="2040272" cy="3421457"/>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Placeholder 3">
            <a:extLst>
              <a:ext uri="{FF2B5EF4-FFF2-40B4-BE49-F238E27FC236}">
                <a16:creationId xmlns:a16="http://schemas.microsoft.com/office/drawing/2014/main" id="{57371E09-540D-4F2B-9990-912805C7F201}"/>
              </a:ext>
            </a:extLst>
          </p:cNvPr>
          <p:cNvSpPr>
            <a:spLocks noGrp="1"/>
          </p:cNvSpPr>
          <p:nvPr>
            <p:ph sz="half" idx="2"/>
          </p:nvPr>
        </p:nvSpPr>
        <p:spPr>
          <a:xfrm>
            <a:off x="6886242" y="1165225"/>
            <a:ext cx="2040272" cy="3421457"/>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2">
            <a:extLst>
              <a:ext uri="{FF2B5EF4-FFF2-40B4-BE49-F238E27FC236}">
                <a16:creationId xmlns:a16="http://schemas.microsoft.com/office/drawing/2014/main" id="{6FD05A14-ADAE-4BE7-9316-8B3BA8602DAD}"/>
              </a:ext>
            </a:extLst>
          </p:cNvPr>
          <p:cNvSpPr>
            <a:spLocks noGrp="1"/>
          </p:cNvSpPr>
          <p:nvPr>
            <p:ph sz="half" idx="14"/>
          </p:nvPr>
        </p:nvSpPr>
        <p:spPr>
          <a:xfrm>
            <a:off x="4669146" y="1166813"/>
            <a:ext cx="2040272" cy="3421457"/>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Content Placeholder 2">
            <a:extLst>
              <a:ext uri="{FF2B5EF4-FFF2-40B4-BE49-F238E27FC236}">
                <a16:creationId xmlns:a16="http://schemas.microsoft.com/office/drawing/2014/main" id="{BA69E06C-49EA-4299-9E30-BB58DD50D087}"/>
              </a:ext>
            </a:extLst>
          </p:cNvPr>
          <p:cNvSpPr>
            <a:spLocks noGrp="1"/>
          </p:cNvSpPr>
          <p:nvPr>
            <p:ph sz="half" idx="15"/>
          </p:nvPr>
        </p:nvSpPr>
        <p:spPr>
          <a:xfrm>
            <a:off x="2448874" y="1166813"/>
            <a:ext cx="2040272" cy="3421457"/>
          </a:xfrm>
          <a:solidFill>
            <a:schemeClr val="bg1"/>
          </a:solidFill>
        </p:spPr>
        <p:txBody>
          <a:bodyPr lIns="108000" tIns="108000" rIns="108000" bIns="108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a:extLst>
              <a:ext uri="{FF2B5EF4-FFF2-40B4-BE49-F238E27FC236}">
                <a16:creationId xmlns:a16="http://schemas.microsoft.com/office/drawing/2014/main" id="{9322363D-A39C-40DE-B63E-CAE720463017}"/>
              </a:ext>
            </a:extLst>
          </p:cNvPr>
          <p:cNvSpPr>
            <a:spLocks noGrp="1"/>
          </p:cNvSpPr>
          <p:nvPr>
            <p:ph type="body" sz="quarter" idx="13"/>
          </p:nvPr>
        </p:nvSpPr>
        <p:spPr>
          <a:xfrm>
            <a:off x="215900" y="628595"/>
            <a:ext cx="8712000" cy="198259"/>
          </a:xfrm>
        </p:spPr>
        <p:txBody>
          <a:bodyPr>
            <a:noAutofit/>
          </a:bodyPr>
          <a:lstStyle>
            <a:lvl1pPr>
              <a:defRPr>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6908948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Highlight Slide - white logo">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6BFA2B64-91C6-4DA6-ACBC-CED708DE5C8C}"/>
              </a:ext>
            </a:extLst>
          </p:cNvPr>
          <p:cNvSpPr>
            <a:spLocks noGrp="1"/>
          </p:cNvSpPr>
          <p:nvPr>
            <p:ph type="pic" sz="quarter" idx="13"/>
          </p:nvPr>
        </p:nvSpPr>
        <p:spPr>
          <a:xfrm>
            <a:off x="0" y="5"/>
            <a:ext cx="9144000" cy="5143500"/>
          </a:xfrm>
          <a:blipFill>
            <a:blip r:embed="rId2"/>
            <a:stretch>
              <a:fillRect/>
            </a:stretch>
          </a:blipFill>
        </p:spPr>
        <p:txBody>
          <a:bodyPr/>
          <a:lstStyle>
            <a:lvl1pPr>
              <a:defRPr>
                <a:noFill/>
              </a:defRPr>
            </a:lvl1pPr>
          </a:lstStyle>
          <a:p>
            <a:r>
              <a:rPr lang="de-DE"/>
              <a:t>Bild durch Klicken auf Symbol hinzufügen</a:t>
            </a:r>
            <a:endParaRPr lang="en-US" dirty="0"/>
          </a:p>
        </p:txBody>
      </p:sp>
      <p:sp>
        <p:nvSpPr>
          <p:cNvPr id="4" name="Footer Placeholder 3">
            <a:extLst>
              <a:ext uri="{FF2B5EF4-FFF2-40B4-BE49-F238E27FC236}">
                <a16:creationId xmlns:a16="http://schemas.microsoft.com/office/drawing/2014/main" id="{F5DEA211-5BD7-4858-87F2-0AA1AD6ACAF1}"/>
              </a:ext>
            </a:extLst>
          </p:cNvPr>
          <p:cNvSpPr>
            <a:spLocks noGrp="1"/>
          </p:cNvSpPr>
          <p:nvPr>
            <p:ph type="ftr" sz="quarter" idx="11"/>
          </p:nvPr>
        </p:nvSpPr>
        <p:spPr/>
        <p:txBody>
          <a:bodyPr/>
          <a:lstStyle>
            <a:lvl1pPr>
              <a:defRPr>
                <a:solidFill>
                  <a:schemeClr val="bg1"/>
                </a:solidFill>
              </a:defRPr>
            </a:lvl1p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27174B14-1B0E-418C-8456-ADC941FD7B0D}"/>
              </a:ext>
            </a:extLst>
          </p:cNvPr>
          <p:cNvSpPr>
            <a:spLocks noGrp="1"/>
          </p:cNvSpPr>
          <p:nvPr>
            <p:ph type="sldNum" sz="quarter" idx="12"/>
          </p:nvPr>
        </p:nvSpPr>
        <p:spPr/>
        <p:txBody>
          <a:bodyPr/>
          <a:lstStyle>
            <a:lvl1pPr>
              <a:defRPr>
                <a:solidFill>
                  <a:schemeClr val="bg1"/>
                </a:solidFill>
              </a:defRPr>
            </a:lvl1pPr>
          </a:lstStyle>
          <a:p>
            <a:fld id="{FBE75FA5-C509-4590-93CE-878685F65CB2}" type="slidenum">
              <a:rPr lang="en-US" smtClean="0"/>
              <a:pPr/>
              <a:t>‹#›</a:t>
            </a:fld>
            <a:endParaRPr lang="en-US" dirty="0"/>
          </a:p>
        </p:txBody>
      </p:sp>
      <p:sp>
        <p:nvSpPr>
          <p:cNvPr id="10" name="Title 1">
            <a:extLst>
              <a:ext uri="{FF2B5EF4-FFF2-40B4-BE49-F238E27FC236}">
                <a16:creationId xmlns:a16="http://schemas.microsoft.com/office/drawing/2014/main" id="{9F1C241E-4DA0-4B15-8CCE-65B7F71B52A3}"/>
              </a:ext>
            </a:extLst>
          </p:cNvPr>
          <p:cNvSpPr>
            <a:spLocks noGrp="1"/>
          </p:cNvSpPr>
          <p:nvPr>
            <p:ph type="title"/>
          </p:nvPr>
        </p:nvSpPr>
        <p:spPr>
          <a:xfrm>
            <a:off x="0" y="438150"/>
            <a:ext cx="3810000" cy="2990849"/>
          </a:xfrm>
          <a:solidFill>
            <a:schemeClr val="bg2"/>
          </a:solidFill>
        </p:spPr>
        <p:txBody>
          <a:bodyPr lIns="216000" tIns="216000" rIns="417600" bIns="1281600" anchor="t" anchorCtr="0"/>
          <a:lstStyle>
            <a:lvl1pPr>
              <a:defRPr sz="3200">
                <a:solidFill>
                  <a:schemeClr val="tx2"/>
                </a:solidFill>
                <a:latin typeface="+mn-lt"/>
              </a:defRPr>
            </a:lvl1pPr>
          </a:lstStyle>
          <a:p>
            <a:r>
              <a:rPr lang="de-DE"/>
              <a:t>Mastertitelformat bearbeiten</a:t>
            </a:r>
            <a:endParaRPr lang="en-US" dirty="0"/>
          </a:p>
        </p:txBody>
      </p:sp>
      <p:sp>
        <p:nvSpPr>
          <p:cNvPr id="7" name="Text Placeholder 7">
            <a:extLst>
              <a:ext uri="{FF2B5EF4-FFF2-40B4-BE49-F238E27FC236}">
                <a16:creationId xmlns:a16="http://schemas.microsoft.com/office/drawing/2014/main" id="{CD5DF3E7-0B46-4CBC-85DC-882E0BE0F6A9}"/>
              </a:ext>
            </a:extLst>
          </p:cNvPr>
          <p:cNvSpPr>
            <a:spLocks noGrp="1"/>
          </p:cNvSpPr>
          <p:nvPr>
            <p:ph type="body" sz="quarter" idx="23"/>
          </p:nvPr>
        </p:nvSpPr>
        <p:spPr>
          <a:xfrm>
            <a:off x="7856907" y="4784670"/>
            <a:ext cx="1071193" cy="163568"/>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4272180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ighlight Slide - blue logo">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6BFA2B64-91C6-4DA6-ACBC-CED708DE5C8C}"/>
              </a:ext>
            </a:extLst>
          </p:cNvPr>
          <p:cNvSpPr>
            <a:spLocks noGrp="1"/>
          </p:cNvSpPr>
          <p:nvPr>
            <p:ph type="pic" sz="quarter" idx="13"/>
          </p:nvPr>
        </p:nvSpPr>
        <p:spPr>
          <a:xfrm>
            <a:off x="0" y="5"/>
            <a:ext cx="9144000" cy="5143500"/>
          </a:xfrm>
          <a:blipFill>
            <a:blip r:embed="rId2"/>
            <a:stretch>
              <a:fillRect/>
            </a:stretch>
          </a:blipFill>
        </p:spPr>
        <p:txBody>
          <a:bodyPr/>
          <a:lstStyle>
            <a:lvl1pPr>
              <a:defRPr>
                <a:noFill/>
              </a:defRPr>
            </a:lvl1pPr>
          </a:lstStyle>
          <a:p>
            <a:r>
              <a:rPr lang="de-DE"/>
              <a:t>Bild durch Klicken auf Symbol hinzufügen</a:t>
            </a:r>
            <a:endParaRPr lang="en-US" dirty="0"/>
          </a:p>
        </p:txBody>
      </p:sp>
      <p:sp>
        <p:nvSpPr>
          <p:cNvPr id="4" name="Footer Placeholder 3">
            <a:extLst>
              <a:ext uri="{FF2B5EF4-FFF2-40B4-BE49-F238E27FC236}">
                <a16:creationId xmlns:a16="http://schemas.microsoft.com/office/drawing/2014/main" id="{F5DEA211-5BD7-4858-87F2-0AA1AD6ACAF1}"/>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27174B14-1B0E-418C-8456-ADC941FD7B0D}"/>
              </a:ext>
            </a:extLst>
          </p:cNvPr>
          <p:cNvSpPr>
            <a:spLocks noGrp="1"/>
          </p:cNvSpPr>
          <p:nvPr>
            <p:ph type="sldNum" sz="quarter" idx="12"/>
          </p:nvPr>
        </p:nvSpPr>
        <p:spPr/>
        <p:txBody>
          <a:bodyPr/>
          <a:lstStyle/>
          <a:p>
            <a:fld id="{FBE75FA5-C509-4590-93CE-878685F65CB2}" type="slidenum">
              <a:rPr lang="en-US" smtClean="0"/>
              <a:pPr/>
              <a:t>‹#›</a:t>
            </a:fld>
            <a:endParaRPr lang="en-US" dirty="0"/>
          </a:p>
        </p:txBody>
      </p:sp>
      <p:sp>
        <p:nvSpPr>
          <p:cNvPr id="13" name="Title 1">
            <a:extLst>
              <a:ext uri="{FF2B5EF4-FFF2-40B4-BE49-F238E27FC236}">
                <a16:creationId xmlns:a16="http://schemas.microsoft.com/office/drawing/2014/main" id="{C84E04F3-1F68-4FD3-8F3A-28A61628FADB}"/>
              </a:ext>
            </a:extLst>
          </p:cNvPr>
          <p:cNvSpPr>
            <a:spLocks noGrp="1"/>
          </p:cNvSpPr>
          <p:nvPr>
            <p:ph type="title"/>
          </p:nvPr>
        </p:nvSpPr>
        <p:spPr>
          <a:xfrm>
            <a:off x="0" y="438150"/>
            <a:ext cx="3809999" cy="2990849"/>
          </a:xfrm>
          <a:solidFill>
            <a:schemeClr val="bg2"/>
          </a:solidFill>
        </p:spPr>
        <p:txBody>
          <a:bodyPr lIns="216000" tIns="216000" rIns="417600" bIns="1281600" anchor="t" anchorCtr="0"/>
          <a:lstStyle>
            <a:lvl1pPr>
              <a:defRPr sz="3200">
                <a:solidFill>
                  <a:schemeClr val="tx2"/>
                </a:solidFill>
                <a:latin typeface="+mn-lt"/>
              </a:defRPr>
            </a:lvl1pPr>
          </a:lstStyle>
          <a:p>
            <a:r>
              <a:rPr lang="de-DE"/>
              <a:t>Mastertitelformat bearbeiten</a:t>
            </a:r>
            <a:endParaRPr lang="en-US" dirty="0"/>
          </a:p>
        </p:txBody>
      </p:sp>
      <p:sp>
        <p:nvSpPr>
          <p:cNvPr id="7" name="Text Placeholder 7">
            <a:extLst>
              <a:ext uri="{FF2B5EF4-FFF2-40B4-BE49-F238E27FC236}">
                <a16:creationId xmlns:a16="http://schemas.microsoft.com/office/drawing/2014/main" id="{42681B15-B8B2-495A-964E-18FA2E26A348}"/>
              </a:ext>
            </a:extLst>
          </p:cNvPr>
          <p:cNvSpPr>
            <a:spLocks noGrp="1"/>
          </p:cNvSpPr>
          <p:nvPr>
            <p:ph type="body" sz="quarter" idx="23"/>
          </p:nvPr>
        </p:nvSpPr>
        <p:spPr>
          <a:xfrm>
            <a:off x="7852811" y="4784306"/>
            <a:ext cx="1073577" cy="163932"/>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2076741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losing Slide - white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46655E-AA92-4EB9-87B2-A9FE342A9801}"/>
              </a:ext>
            </a:extLst>
          </p:cNvPr>
          <p:cNvSpPr/>
          <p:nvPr/>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ooter Placeholder 3">
            <a:extLst>
              <a:ext uri="{FF2B5EF4-FFF2-40B4-BE49-F238E27FC236}">
                <a16:creationId xmlns:a16="http://schemas.microsoft.com/office/drawing/2014/main" id="{1FB1A0B7-E138-4F61-A505-E5364B0A470A}"/>
              </a:ext>
            </a:extLst>
          </p:cNvPr>
          <p:cNvSpPr>
            <a:spLocks noGrp="1"/>
          </p:cNvSpPr>
          <p:nvPr>
            <p:ph type="ftr" sz="quarter" idx="11"/>
          </p:nvPr>
        </p:nvSpPr>
        <p:spPr bwMode="white"/>
        <p:txBody>
          <a:bodyPr/>
          <a:lstStyle>
            <a:lvl1pPr>
              <a:defRPr>
                <a:solidFill>
                  <a:schemeClr val="bg2"/>
                </a:solidFill>
              </a:defRPr>
            </a:lvl1p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669C5C7E-27DD-4C91-AD5C-811D9D69F6F9}"/>
              </a:ext>
            </a:extLst>
          </p:cNvPr>
          <p:cNvSpPr>
            <a:spLocks noGrp="1"/>
          </p:cNvSpPr>
          <p:nvPr>
            <p:ph type="sldNum" sz="quarter" idx="12"/>
          </p:nvPr>
        </p:nvSpPr>
        <p:spPr bwMode="white"/>
        <p:txBody>
          <a:bodyPr/>
          <a:lstStyle>
            <a:lvl1pPr>
              <a:defRPr>
                <a:solidFill>
                  <a:schemeClr val="bg2"/>
                </a:solidFill>
              </a:defRPr>
            </a:lvl1pPr>
          </a:lstStyle>
          <a:p>
            <a:fld id="{FBE75FA5-C509-4590-93CE-878685F65CB2}" type="slidenum">
              <a:rPr lang="en-US" smtClean="0"/>
              <a:pPr/>
              <a:t>‹#›</a:t>
            </a:fld>
            <a:endParaRPr lang="en-US" dirty="0"/>
          </a:p>
        </p:txBody>
      </p:sp>
      <p:sp>
        <p:nvSpPr>
          <p:cNvPr id="8" name="Freeform 5">
            <a:extLst>
              <a:ext uri="{FF2B5EF4-FFF2-40B4-BE49-F238E27FC236}">
                <a16:creationId xmlns:a16="http://schemas.microsoft.com/office/drawing/2014/main" id="{F51C5CFB-B017-4230-8BE9-06E83511DC54}"/>
              </a:ext>
            </a:extLst>
          </p:cNvPr>
          <p:cNvSpPr>
            <a:spLocks noEditPoints="1"/>
          </p:cNvSpPr>
          <p:nvPr/>
        </p:nvSpPr>
        <p:spPr bwMode="auto">
          <a:xfrm>
            <a:off x="2290864" y="1945127"/>
            <a:ext cx="4562272" cy="695525"/>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F2F2EA"/>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12121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losing Slide - blue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929889B-F662-4F24-8211-37E8DF5FD79F}"/>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ooter Placeholder 3">
            <a:extLst>
              <a:ext uri="{FF2B5EF4-FFF2-40B4-BE49-F238E27FC236}">
                <a16:creationId xmlns:a16="http://schemas.microsoft.com/office/drawing/2014/main" id="{DA34A9FF-85A5-4AE6-9F3C-F4E9F2BFFE80}"/>
              </a:ext>
            </a:extLst>
          </p:cNvPr>
          <p:cNvSpPr>
            <a:spLocks noGrp="1"/>
          </p:cNvSpPr>
          <p:nvPr>
            <p:ph type="ftr" sz="quarter" idx="11"/>
          </p:nvPr>
        </p:nvSpPr>
        <p:spPr/>
        <p:txBody>
          <a:bodyPr/>
          <a:lstStyle>
            <a:lvl1pPr>
              <a:defRPr>
                <a:solidFill>
                  <a:schemeClr val="tx2"/>
                </a:solidFill>
              </a:defRPr>
            </a:lvl1p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3FABA649-05AE-4D71-9334-26A40AB053D9}"/>
              </a:ext>
            </a:extLst>
          </p:cNvPr>
          <p:cNvSpPr>
            <a:spLocks noGrp="1"/>
          </p:cNvSpPr>
          <p:nvPr>
            <p:ph type="sldNum" sz="quarter" idx="12"/>
          </p:nvPr>
        </p:nvSpPr>
        <p:spPr/>
        <p:txBody>
          <a:bodyPr/>
          <a:lstStyle>
            <a:lvl1pPr>
              <a:defRPr>
                <a:solidFill>
                  <a:schemeClr val="tx2"/>
                </a:solidFill>
              </a:defRPr>
            </a:lvl1pPr>
          </a:lstStyle>
          <a:p>
            <a:fld id="{FBE75FA5-C509-4590-93CE-878685F65CB2}" type="slidenum">
              <a:rPr lang="en-US" smtClean="0"/>
              <a:pPr/>
              <a:t>‹#›</a:t>
            </a:fld>
            <a:endParaRPr lang="en-US" dirty="0"/>
          </a:p>
        </p:txBody>
      </p:sp>
      <p:sp>
        <p:nvSpPr>
          <p:cNvPr id="8" name="Freeform 5">
            <a:extLst>
              <a:ext uri="{FF2B5EF4-FFF2-40B4-BE49-F238E27FC236}">
                <a16:creationId xmlns:a16="http://schemas.microsoft.com/office/drawing/2014/main" id="{983DBD42-7322-40A3-A6A1-C53941ABDDAA}"/>
              </a:ext>
            </a:extLst>
          </p:cNvPr>
          <p:cNvSpPr>
            <a:spLocks noEditPoints="1"/>
          </p:cNvSpPr>
          <p:nvPr/>
        </p:nvSpPr>
        <p:spPr bwMode="auto">
          <a:xfrm>
            <a:off x="2290864" y="1945127"/>
            <a:ext cx="4562272" cy="695525"/>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011F3D"/>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641097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Agenda Simple&#10;- Light -">
  <p:cSld name="*Agenda Simple&#10;- Light -">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hasCustomPrompt="1"/>
          </p:nvPr>
        </p:nvSpPr>
        <p:spPr>
          <a:xfrm>
            <a:off x="270900" y="530550"/>
            <a:ext cx="8601075" cy="217885"/>
          </a:xfrm>
        </p:spPr>
        <p:txBody>
          <a:bodyPr tIns="50800"/>
          <a:lstStyle>
            <a:lvl1pPr marL="0" indent="0">
              <a:lnSpc>
                <a:spcPct val="100000"/>
              </a:lnSpc>
              <a:spcBef>
                <a:spcPts val="0"/>
              </a:spcBef>
              <a:spcAft>
                <a:spcPts val="574"/>
              </a:spcAft>
              <a:buFontTx/>
              <a:buNone/>
              <a:defRPr baseline="0">
                <a:solidFill>
                  <a:schemeClr val="accent1"/>
                </a:solidFill>
                <a:latin typeface="+mn-lt"/>
                <a:cs typeface="+mn-cs"/>
              </a:defRPr>
            </a:lvl1pPr>
          </a:lstStyle>
          <a:p>
            <a:pPr lvl="0"/>
            <a:r>
              <a:rPr lang="en-US" dirty="0"/>
              <a:t> </a:t>
            </a:r>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10"/>
          </p:nvPr>
        </p:nvSpPr>
        <p:spPr/>
        <p:txBody>
          <a:bodyPr/>
          <a:lstStyle>
            <a:lvl1pPr>
              <a:defRPr baseline="0">
                <a:latin typeface="+mn-lt"/>
                <a:cs typeface="+mn-cs"/>
              </a:defRPr>
            </a:lvl1pPr>
          </a:lstStyle>
          <a:p>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11"/>
          </p:nvPr>
        </p:nvSpPr>
        <p:spPr/>
        <p:txBody>
          <a:bodyPr/>
          <a:lstStyle>
            <a:lvl1pPr>
              <a:defRPr baseline="0">
                <a:latin typeface="+mn-lt"/>
                <a:cs typeface="+mn-cs"/>
              </a:defRPr>
            </a:lvl1p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12"/>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7" name="MIO_VALID_LAYOUT" hidden="1">
            <a:extLst>
              <a:ext uri="{FF2B5EF4-FFF2-40B4-BE49-F238E27FC236}">
                <a16:creationId xmlns:a16="http://schemas.microsoft.com/office/drawing/2014/main" id="{A4C21633-D442-4A50-B97D-A22F8CB70A0C}"/>
              </a:ext>
            </a:extLst>
          </p:cNvPr>
          <p:cNvSpPr/>
          <p:nvPr userDrawn="1"/>
        </p:nvSpPr>
        <p:spPr>
          <a:xfrm>
            <a:off x="8730225" y="165497"/>
            <a:ext cx="145800" cy="1458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p>
            <a:pPr algn="ctr" defTabSz="729000"/>
            <a:endParaRPr lang="en-US" sz="1050" dirty="0">
              <a:solidFill>
                <a:schemeClr val="tx1"/>
              </a:solidFill>
            </a:endParaRPr>
          </a:p>
        </p:txBody>
      </p:sp>
      <p:sp>
        <p:nvSpPr>
          <p:cNvPr id="8" name="Layout Support" hidden="1">
            <a:extLst>
              <a:ext uri="{FF2B5EF4-FFF2-40B4-BE49-F238E27FC236}">
                <a16:creationId xmlns:a16="http://schemas.microsoft.com/office/drawing/2014/main" id="{03003013-5EBA-462D-BD36-1BDCD6CABC3E}"/>
              </a:ext>
            </a:extLst>
          </p:cNvPr>
          <p:cNvSpPr txBox="1">
            <a:spLocks/>
          </p:cNvSpPr>
          <p:nvPr userDrawn="1">
            <p:custDataLst>
              <p:tags r:id="rId1"/>
            </p:custDataLst>
          </p:nvPr>
        </p:nvSpPr>
        <p:spPr>
          <a:xfrm>
            <a:off x="8784960" y="-102690"/>
            <a:ext cx="343800" cy="72899"/>
          </a:xfrm>
          <a:prstGeom prst="rect">
            <a:avLst/>
          </a:prstGeom>
          <a:ln w="28575">
            <a:noFill/>
          </a:ln>
        </p:spPr>
        <p:txBody>
          <a:bodyPr vert="horz" wrap="square" lIns="0" tIns="0" rIns="0" bIns="0" rtlCol="0">
            <a:noAutofit/>
          </a:bodyPr>
          <a:lstStyle/>
          <a:p>
            <a:pPr algn="r" defTabSz="729000"/>
            <a:r>
              <a:rPr lang="en-US" sz="600" dirty="0">
                <a:solidFill>
                  <a:schemeClr val="bg1">
                    <a:lumMod val="50000"/>
                  </a:schemeClr>
                </a:solidFill>
              </a:rPr>
              <a:t>L11000</a:t>
            </a:r>
          </a:p>
        </p:txBody>
      </p:sp>
      <p:sp>
        <p:nvSpPr>
          <p:cNvPr id="9" name="MIO_AGENDA_SLIDE_DECORATION">
            <a:extLst>
              <a:ext uri="{FF2B5EF4-FFF2-40B4-BE49-F238E27FC236}">
                <a16:creationId xmlns:a16="http://schemas.microsoft.com/office/drawing/2014/main" id="{BEFD6527-3110-486F-A7E1-12D961E08ED0}"/>
              </a:ext>
            </a:extLst>
          </p:cNvPr>
          <p:cNvSpPr/>
          <p:nvPr userDrawn="1">
            <p:custDataLst>
              <p:tags r:id="rId2"/>
            </p:custDataLst>
          </p:nvPr>
        </p:nvSpPr>
        <p:spPr>
          <a:xfrm>
            <a:off x="-113" y="1040850"/>
            <a:ext cx="7415213" cy="3499004"/>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p>
            <a:pPr algn="ctr" defTabSz="729000"/>
            <a:endParaRPr lang="en-US" sz="1050" dirty="0"/>
          </a:p>
        </p:txBody>
      </p:sp>
    </p:spTree>
    <p:extLst>
      <p:ext uri="{BB962C8B-B14F-4D97-AF65-F5344CB8AC3E}">
        <p14:creationId xmlns:p14="http://schemas.microsoft.com/office/powerpoint/2010/main" val="33147901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452">
          <p15:clr>
            <a:srgbClr val="547EBF"/>
          </p15:clr>
        </p15:guide>
        <p15:guide id="2" orient="horz" pos="3813">
          <p15:clr>
            <a:srgbClr val="547EBF"/>
          </p15:clr>
        </p15:guide>
        <p15:guide id="3" pos="228">
          <p15:clr>
            <a:srgbClr val="547EBF"/>
          </p15:clr>
        </p15:guide>
        <p15:guide id="4" orient="horz" pos="874">
          <p15:clr>
            <a:srgbClr val="547EBF"/>
          </p15:clr>
        </p15:guide>
        <p15:guide id="5" orient="horz" pos="3874">
          <p15:clr>
            <a:srgbClr val="547EBF"/>
          </p15:clr>
        </p15:guide>
        <p15:guide id="6" orient="horz" pos="399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de-DE"/>
              <a:t>Mastertitelformat bearbeiten</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dirty="0"/>
              <a:t>© 2024 Software AG. All rights reserved. For internal use only and for Software AG Partners.</a:t>
            </a:r>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smtClean="0"/>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270900" y="530550"/>
            <a:ext cx="8601075" cy="217885"/>
          </a:xfrm>
        </p:spPr>
        <p:txBody>
          <a:bodyPr tIns="50800"/>
          <a:lstStyle>
            <a:lvl1pPr marL="0" indent="0">
              <a:lnSpc>
                <a:spcPct val="100000"/>
              </a:lnSpc>
              <a:spcBef>
                <a:spcPts val="0"/>
              </a:spcBef>
              <a:spcAft>
                <a:spcPts val="574"/>
              </a:spcAft>
              <a:buFontTx/>
              <a:buNone/>
              <a:defRPr baseline="0">
                <a:solidFill>
                  <a:schemeClr val="accent1"/>
                </a:solidFill>
                <a:latin typeface="+mn-lt"/>
                <a:cs typeface="+mn-cs"/>
              </a:defRPr>
            </a:lvl1pPr>
          </a:lstStyle>
          <a:p>
            <a:pPr lvl="0"/>
            <a:r>
              <a:rPr lang="de-DE"/>
              <a:t>Master-Untertitelformat bearbeiten</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270900" y="1040851"/>
            <a:ext cx="8601075" cy="3499247"/>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p:custDataLst>
              <p:tags r:id="rId1"/>
            </p:custDataLst>
          </p:nvPr>
        </p:nvSpPr>
        <p:spPr>
          <a:xfrm>
            <a:off x="8784960" y="-102690"/>
            <a:ext cx="343800" cy="72899"/>
          </a:xfrm>
          <a:prstGeom prst="rect">
            <a:avLst/>
          </a:prstGeom>
          <a:ln w="28575">
            <a:noFill/>
          </a:ln>
        </p:spPr>
        <p:txBody>
          <a:bodyPr vert="horz" wrap="square" lIns="0" tIns="0" rIns="0" bIns="0" rtlCol="0">
            <a:noAutofit/>
          </a:bodyPr>
          <a:lstStyle/>
          <a:p>
            <a:pPr algn="r" defTabSz="729000"/>
            <a:r>
              <a:rPr lang="en-US" sz="600" dirty="0">
                <a:solidFill>
                  <a:schemeClr val="bg1">
                    <a:lumMod val="50000"/>
                  </a:schemeClr>
                </a:solidFill>
              </a:rPr>
              <a:t>S11010</a:t>
            </a:r>
          </a:p>
        </p:txBody>
      </p:sp>
    </p:spTree>
    <p:extLst>
      <p:ext uri="{BB962C8B-B14F-4D97-AF65-F5344CB8AC3E}">
        <p14:creationId xmlns:p14="http://schemas.microsoft.com/office/powerpoint/2010/main" val="4057209764"/>
      </p:ext>
    </p:extLst>
  </p:cSld>
  <p:clrMapOvr>
    <a:masterClrMapping/>
  </p:clrMapOvr>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8529B80-C143-4FC5-88E6-F4572FD52D4D}"/>
              </a:ext>
            </a:extLst>
          </p:cNvPr>
          <p:cNvSpPr>
            <a:spLocks noGrp="1"/>
          </p:cNvSpPr>
          <p:nvPr>
            <p:ph type="pic" sz="quarter" idx="13"/>
          </p:nvPr>
        </p:nvSpPr>
        <p:spPr>
          <a:xfrm>
            <a:off x="0" y="5"/>
            <a:ext cx="9144000" cy="5143500"/>
          </a:xfrm>
          <a:blipFill>
            <a:blip r:embed="rId2"/>
            <a:stretch>
              <a:fillRect/>
            </a:stretch>
          </a:blipFill>
        </p:spPr>
        <p:txBody>
          <a:bodyPr/>
          <a:lstStyle>
            <a:lvl1pPr>
              <a:defRPr sz="100">
                <a:noFill/>
              </a:defRPr>
            </a:lvl1pPr>
          </a:lstStyle>
          <a:p>
            <a:r>
              <a:rPr lang="de-DE"/>
              <a:t>Bild durch Klicken auf Symbol hinzufügen</a:t>
            </a:r>
            <a:endParaRPr lang="en-US" dirty="0"/>
          </a:p>
        </p:txBody>
      </p:sp>
      <p:sp>
        <p:nvSpPr>
          <p:cNvPr id="5" name="Footer Placeholder 4">
            <a:extLst>
              <a:ext uri="{FF2B5EF4-FFF2-40B4-BE49-F238E27FC236}">
                <a16:creationId xmlns:a16="http://schemas.microsoft.com/office/drawing/2014/main" id="{2FE804F9-626A-46E9-9608-08B25EE71066}"/>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274C594-B7AA-4F15-BF7A-E391D31ABE59}"/>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2" name="Title 1">
            <a:extLst>
              <a:ext uri="{FF2B5EF4-FFF2-40B4-BE49-F238E27FC236}">
                <a16:creationId xmlns:a16="http://schemas.microsoft.com/office/drawing/2014/main" id="{EB3E9D7F-B3AD-4DD6-AB7C-B23AE4EDBF80}"/>
              </a:ext>
            </a:extLst>
          </p:cNvPr>
          <p:cNvSpPr>
            <a:spLocks noGrp="1"/>
          </p:cNvSpPr>
          <p:nvPr>
            <p:ph type="title" hasCustomPrompt="1"/>
          </p:nvPr>
        </p:nvSpPr>
        <p:spPr>
          <a:xfrm>
            <a:off x="0" y="334800"/>
            <a:ext cx="4571999" cy="3595254"/>
          </a:xfrm>
          <a:solidFill>
            <a:schemeClr val="bg2"/>
          </a:solidFill>
        </p:spPr>
        <p:txBody>
          <a:bodyPr lIns="216000" rIns="108000" bIns="1299600" anchor="b" anchorCtr="0"/>
          <a:lstStyle>
            <a:lvl1pPr>
              <a:lnSpc>
                <a:spcPct val="100000"/>
              </a:lnSpc>
              <a:defRPr sz="3200"/>
            </a:lvl1pPr>
          </a:lstStyle>
          <a:p>
            <a:r>
              <a:rPr lang="en-US" dirty="0"/>
              <a:t>Click to edit </a:t>
            </a:r>
            <a:br>
              <a:rPr lang="en-US" dirty="0"/>
            </a:br>
            <a:r>
              <a:rPr lang="en-US" dirty="0"/>
              <a:t>Master title </a:t>
            </a:r>
            <a:br>
              <a:rPr lang="en-US" dirty="0"/>
            </a:br>
            <a:r>
              <a:rPr lang="en-US" dirty="0"/>
              <a:t>style</a:t>
            </a:r>
          </a:p>
        </p:txBody>
      </p:sp>
      <p:sp>
        <p:nvSpPr>
          <p:cNvPr id="3" name="Subtitle 2">
            <a:extLst>
              <a:ext uri="{FF2B5EF4-FFF2-40B4-BE49-F238E27FC236}">
                <a16:creationId xmlns:a16="http://schemas.microsoft.com/office/drawing/2014/main" id="{21FACA36-DE8E-4683-958C-35C12B2FDD98}"/>
              </a:ext>
            </a:extLst>
          </p:cNvPr>
          <p:cNvSpPr>
            <a:spLocks noGrp="1"/>
          </p:cNvSpPr>
          <p:nvPr>
            <p:ph type="subTitle" idx="1"/>
          </p:nvPr>
        </p:nvSpPr>
        <p:spPr>
          <a:xfrm>
            <a:off x="217303" y="2710800"/>
            <a:ext cx="4032000" cy="406800"/>
          </a:xfrm>
        </p:spPr>
        <p:txBody>
          <a:bodyPr>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2" name="Text Placeholder 15">
            <a:extLst>
              <a:ext uri="{FF2B5EF4-FFF2-40B4-BE49-F238E27FC236}">
                <a16:creationId xmlns:a16="http://schemas.microsoft.com/office/drawing/2014/main" id="{6AFE4F1B-0E21-413C-AC44-D0052111D746}"/>
              </a:ext>
            </a:extLst>
          </p:cNvPr>
          <p:cNvSpPr>
            <a:spLocks noGrp="1"/>
          </p:cNvSpPr>
          <p:nvPr>
            <p:ph type="body" sz="quarter" idx="16" hasCustomPrompt="1"/>
          </p:nvPr>
        </p:nvSpPr>
        <p:spPr>
          <a:xfrm>
            <a:off x="217303" y="3259183"/>
            <a:ext cx="4032000" cy="138499"/>
          </a:xfrm>
        </p:spPr>
        <p:txBody>
          <a:bodyPr anchor="t" anchorCtr="0">
            <a:noAutofit/>
          </a:bodyPr>
          <a:lstStyle>
            <a:lvl1pPr>
              <a:defRPr sz="900"/>
            </a:lvl1pPr>
          </a:lstStyle>
          <a:p>
            <a:pPr lvl="0"/>
            <a:r>
              <a:rPr lang="en-US" dirty="0"/>
              <a:t>Presenter Name – </a:t>
            </a:r>
          </a:p>
        </p:txBody>
      </p:sp>
      <p:sp>
        <p:nvSpPr>
          <p:cNvPr id="13" name="Text Placeholder 15">
            <a:extLst>
              <a:ext uri="{FF2B5EF4-FFF2-40B4-BE49-F238E27FC236}">
                <a16:creationId xmlns:a16="http://schemas.microsoft.com/office/drawing/2014/main" id="{A73F5829-4075-46E4-9D69-B3B6767C6145}"/>
              </a:ext>
            </a:extLst>
          </p:cNvPr>
          <p:cNvSpPr>
            <a:spLocks noGrp="1"/>
          </p:cNvSpPr>
          <p:nvPr>
            <p:ph type="body" sz="quarter" idx="21" hasCustomPrompt="1"/>
          </p:nvPr>
        </p:nvSpPr>
        <p:spPr>
          <a:xfrm>
            <a:off x="217303" y="3427441"/>
            <a:ext cx="4032000" cy="138499"/>
          </a:xfrm>
        </p:spPr>
        <p:txBody>
          <a:bodyPr anchor="t" anchorCtr="0">
            <a:noAutofit/>
          </a:bodyPr>
          <a:lstStyle>
            <a:lvl1pPr>
              <a:defRPr sz="900"/>
            </a:lvl1pPr>
          </a:lstStyle>
          <a:p>
            <a:pPr lvl="0"/>
            <a:r>
              <a:rPr lang="en-US" dirty="0"/>
              <a:t>Presenter Title – </a:t>
            </a:r>
          </a:p>
        </p:txBody>
      </p:sp>
      <p:sp>
        <p:nvSpPr>
          <p:cNvPr id="14" name="Text Placeholder 15">
            <a:extLst>
              <a:ext uri="{FF2B5EF4-FFF2-40B4-BE49-F238E27FC236}">
                <a16:creationId xmlns:a16="http://schemas.microsoft.com/office/drawing/2014/main" id="{85CB34BF-EF4B-4E95-9886-0E9480029005}"/>
              </a:ext>
            </a:extLst>
          </p:cNvPr>
          <p:cNvSpPr>
            <a:spLocks noGrp="1"/>
          </p:cNvSpPr>
          <p:nvPr>
            <p:ph type="body" sz="quarter" idx="22" hasCustomPrompt="1"/>
          </p:nvPr>
        </p:nvSpPr>
        <p:spPr>
          <a:xfrm>
            <a:off x="217303" y="3595699"/>
            <a:ext cx="4032000" cy="138499"/>
          </a:xfrm>
        </p:spPr>
        <p:txBody>
          <a:bodyPr anchor="t" anchorCtr="0">
            <a:noAutofit/>
          </a:bodyPr>
          <a:lstStyle>
            <a:lvl1pPr>
              <a:defRPr sz="900"/>
            </a:lvl1pPr>
          </a:lstStyle>
          <a:p>
            <a:pPr lvl="0"/>
            <a:r>
              <a:rPr lang="en-US" dirty="0"/>
              <a:t>Date – </a:t>
            </a:r>
          </a:p>
        </p:txBody>
      </p:sp>
      <p:sp>
        <p:nvSpPr>
          <p:cNvPr id="11" name="Text Placeholder 7">
            <a:extLst>
              <a:ext uri="{FF2B5EF4-FFF2-40B4-BE49-F238E27FC236}">
                <a16:creationId xmlns:a16="http://schemas.microsoft.com/office/drawing/2014/main" id="{A86EBDFD-E303-4633-89EB-6E6410A56677}"/>
              </a:ext>
            </a:extLst>
          </p:cNvPr>
          <p:cNvSpPr>
            <a:spLocks noGrp="1"/>
          </p:cNvSpPr>
          <p:nvPr>
            <p:ph type="body" sz="quarter" idx="23"/>
          </p:nvPr>
        </p:nvSpPr>
        <p:spPr>
          <a:xfrm>
            <a:off x="218232" y="561822"/>
            <a:ext cx="1307728" cy="199686"/>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99134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4">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8529B80-C143-4FC5-88E6-F4572FD52D4D}"/>
              </a:ext>
            </a:extLst>
          </p:cNvPr>
          <p:cNvSpPr>
            <a:spLocks noGrp="1"/>
          </p:cNvSpPr>
          <p:nvPr>
            <p:ph type="pic" sz="quarter" idx="13"/>
          </p:nvPr>
        </p:nvSpPr>
        <p:spPr>
          <a:xfrm>
            <a:off x="0" y="5"/>
            <a:ext cx="9144000" cy="5143500"/>
          </a:xfrm>
          <a:blipFill>
            <a:blip r:embed="rId2"/>
            <a:stretch>
              <a:fillRect/>
            </a:stretch>
          </a:blipFill>
        </p:spPr>
        <p:txBody>
          <a:bodyPr/>
          <a:lstStyle>
            <a:lvl1pPr>
              <a:defRPr sz="100">
                <a:noFill/>
              </a:defRPr>
            </a:lvl1pPr>
          </a:lstStyle>
          <a:p>
            <a:r>
              <a:rPr lang="de-DE"/>
              <a:t>Bild durch Klicken auf Symbol hinzufügen</a:t>
            </a:r>
            <a:endParaRPr lang="en-US" dirty="0"/>
          </a:p>
        </p:txBody>
      </p:sp>
      <p:sp>
        <p:nvSpPr>
          <p:cNvPr id="5" name="Footer Placeholder 4">
            <a:extLst>
              <a:ext uri="{FF2B5EF4-FFF2-40B4-BE49-F238E27FC236}">
                <a16:creationId xmlns:a16="http://schemas.microsoft.com/office/drawing/2014/main" id="{2FE804F9-626A-46E9-9608-08B25EE71066}"/>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274C594-B7AA-4F15-BF7A-E391D31ABE59}"/>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2" name="Title 1">
            <a:extLst>
              <a:ext uri="{FF2B5EF4-FFF2-40B4-BE49-F238E27FC236}">
                <a16:creationId xmlns:a16="http://schemas.microsoft.com/office/drawing/2014/main" id="{EB3E9D7F-B3AD-4DD6-AB7C-B23AE4EDBF80}"/>
              </a:ext>
            </a:extLst>
          </p:cNvPr>
          <p:cNvSpPr>
            <a:spLocks noGrp="1"/>
          </p:cNvSpPr>
          <p:nvPr>
            <p:ph type="title" hasCustomPrompt="1"/>
          </p:nvPr>
        </p:nvSpPr>
        <p:spPr>
          <a:xfrm>
            <a:off x="0" y="334800"/>
            <a:ext cx="4571999" cy="3595254"/>
          </a:xfrm>
          <a:solidFill>
            <a:schemeClr val="bg2"/>
          </a:solidFill>
          <a:ln>
            <a:noFill/>
          </a:ln>
        </p:spPr>
        <p:txBody>
          <a:bodyPr lIns="216000" rIns="108000" bIns="1299600" anchor="b" anchorCtr="0"/>
          <a:lstStyle>
            <a:lvl1pPr>
              <a:lnSpc>
                <a:spcPct val="100000"/>
              </a:lnSpc>
              <a:defRPr sz="3200"/>
            </a:lvl1pPr>
          </a:lstStyle>
          <a:p>
            <a:r>
              <a:rPr lang="en-US" dirty="0"/>
              <a:t>Click to edit </a:t>
            </a:r>
            <a:br>
              <a:rPr lang="en-US" dirty="0"/>
            </a:br>
            <a:r>
              <a:rPr lang="en-US" dirty="0"/>
              <a:t>Master title </a:t>
            </a:r>
            <a:br>
              <a:rPr lang="en-US" dirty="0"/>
            </a:br>
            <a:r>
              <a:rPr lang="en-US" dirty="0"/>
              <a:t>style</a:t>
            </a:r>
          </a:p>
        </p:txBody>
      </p:sp>
      <p:sp>
        <p:nvSpPr>
          <p:cNvPr id="3" name="Subtitle 2">
            <a:extLst>
              <a:ext uri="{FF2B5EF4-FFF2-40B4-BE49-F238E27FC236}">
                <a16:creationId xmlns:a16="http://schemas.microsoft.com/office/drawing/2014/main" id="{21FACA36-DE8E-4683-958C-35C12B2FDD98}"/>
              </a:ext>
            </a:extLst>
          </p:cNvPr>
          <p:cNvSpPr>
            <a:spLocks noGrp="1"/>
          </p:cNvSpPr>
          <p:nvPr>
            <p:ph type="subTitle" idx="1"/>
          </p:nvPr>
        </p:nvSpPr>
        <p:spPr>
          <a:xfrm>
            <a:off x="217303" y="2710800"/>
            <a:ext cx="4032000" cy="406800"/>
          </a:xfrm>
        </p:spPr>
        <p:txBody>
          <a:bodyPr>
            <a:noAutofit/>
          </a:bodyPr>
          <a:lstStyle>
            <a:lvl1pPr marL="0" indent="0" algn="l">
              <a:buNone/>
              <a:defRPr sz="14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2" name="Text Placeholder 15">
            <a:extLst>
              <a:ext uri="{FF2B5EF4-FFF2-40B4-BE49-F238E27FC236}">
                <a16:creationId xmlns:a16="http://schemas.microsoft.com/office/drawing/2014/main" id="{7FA0D4EB-6F15-4440-8F29-58E65E579122}"/>
              </a:ext>
            </a:extLst>
          </p:cNvPr>
          <p:cNvSpPr>
            <a:spLocks noGrp="1"/>
          </p:cNvSpPr>
          <p:nvPr>
            <p:ph type="body" sz="quarter" idx="16" hasCustomPrompt="1"/>
          </p:nvPr>
        </p:nvSpPr>
        <p:spPr>
          <a:xfrm>
            <a:off x="217303" y="3259183"/>
            <a:ext cx="4032000" cy="138499"/>
          </a:xfrm>
        </p:spPr>
        <p:txBody>
          <a:bodyPr anchor="t" anchorCtr="0">
            <a:noAutofit/>
          </a:bodyPr>
          <a:lstStyle>
            <a:lvl1pPr>
              <a:defRPr sz="900"/>
            </a:lvl1pPr>
          </a:lstStyle>
          <a:p>
            <a:pPr lvl="0"/>
            <a:r>
              <a:rPr lang="en-US" dirty="0"/>
              <a:t>Presenter Name – </a:t>
            </a:r>
          </a:p>
        </p:txBody>
      </p:sp>
      <p:sp>
        <p:nvSpPr>
          <p:cNvPr id="13" name="Text Placeholder 15">
            <a:extLst>
              <a:ext uri="{FF2B5EF4-FFF2-40B4-BE49-F238E27FC236}">
                <a16:creationId xmlns:a16="http://schemas.microsoft.com/office/drawing/2014/main" id="{B961584D-ED36-4A82-8901-70D12BE13099}"/>
              </a:ext>
            </a:extLst>
          </p:cNvPr>
          <p:cNvSpPr>
            <a:spLocks noGrp="1"/>
          </p:cNvSpPr>
          <p:nvPr>
            <p:ph type="body" sz="quarter" idx="21" hasCustomPrompt="1"/>
          </p:nvPr>
        </p:nvSpPr>
        <p:spPr>
          <a:xfrm>
            <a:off x="217303" y="3427441"/>
            <a:ext cx="4032000" cy="138499"/>
          </a:xfrm>
        </p:spPr>
        <p:txBody>
          <a:bodyPr anchor="t" anchorCtr="0">
            <a:noAutofit/>
          </a:bodyPr>
          <a:lstStyle>
            <a:lvl1pPr>
              <a:defRPr sz="900"/>
            </a:lvl1pPr>
          </a:lstStyle>
          <a:p>
            <a:pPr lvl="0"/>
            <a:r>
              <a:rPr lang="en-US" dirty="0"/>
              <a:t>Presenter Title – </a:t>
            </a:r>
          </a:p>
        </p:txBody>
      </p:sp>
      <p:sp>
        <p:nvSpPr>
          <p:cNvPr id="14" name="Text Placeholder 15">
            <a:extLst>
              <a:ext uri="{FF2B5EF4-FFF2-40B4-BE49-F238E27FC236}">
                <a16:creationId xmlns:a16="http://schemas.microsoft.com/office/drawing/2014/main" id="{91FABBAE-AF61-499C-BC75-3CC9AD0A7E92}"/>
              </a:ext>
            </a:extLst>
          </p:cNvPr>
          <p:cNvSpPr>
            <a:spLocks noGrp="1"/>
          </p:cNvSpPr>
          <p:nvPr>
            <p:ph type="body" sz="quarter" idx="22" hasCustomPrompt="1"/>
          </p:nvPr>
        </p:nvSpPr>
        <p:spPr>
          <a:xfrm>
            <a:off x="217303" y="3595699"/>
            <a:ext cx="4032000" cy="138499"/>
          </a:xfrm>
        </p:spPr>
        <p:txBody>
          <a:bodyPr anchor="t" anchorCtr="0">
            <a:noAutofit/>
          </a:bodyPr>
          <a:lstStyle>
            <a:lvl1pPr>
              <a:defRPr sz="900"/>
            </a:lvl1pPr>
          </a:lstStyle>
          <a:p>
            <a:pPr lvl="0"/>
            <a:r>
              <a:rPr lang="en-US" dirty="0"/>
              <a:t>Date – </a:t>
            </a:r>
          </a:p>
        </p:txBody>
      </p:sp>
      <p:sp>
        <p:nvSpPr>
          <p:cNvPr id="11" name="Text Placeholder 7">
            <a:extLst>
              <a:ext uri="{FF2B5EF4-FFF2-40B4-BE49-F238E27FC236}">
                <a16:creationId xmlns:a16="http://schemas.microsoft.com/office/drawing/2014/main" id="{C886F443-19F9-4C1D-BF70-14327E1502CD}"/>
              </a:ext>
            </a:extLst>
          </p:cNvPr>
          <p:cNvSpPr>
            <a:spLocks noGrp="1"/>
          </p:cNvSpPr>
          <p:nvPr>
            <p:ph type="body" sz="quarter" idx="23"/>
          </p:nvPr>
        </p:nvSpPr>
        <p:spPr>
          <a:xfrm>
            <a:off x="218232" y="561822"/>
            <a:ext cx="1307728" cy="199686"/>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1385487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 #5">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7A681A6-A4AB-485E-BFB2-E96C7A0893E0}"/>
              </a:ext>
            </a:extLst>
          </p:cNvPr>
          <p:cNvSpPr>
            <a:spLocks noGrp="1"/>
          </p:cNvSpPr>
          <p:nvPr>
            <p:ph type="pic" sz="quarter" idx="19"/>
          </p:nvPr>
        </p:nvSpPr>
        <p:spPr>
          <a:xfrm>
            <a:off x="0" y="0"/>
            <a:ext cx="9144000" cy="5143500"/>
          </a:xfrm>
        </p:spPr>
        <p:txBody>
          <a:bodyPr/>
          <a:lstStyle>
            <a:lvl1pPr>
              <a:defRPr sz="1200"/>
            </a:lvl1pPr>
          </a:lstStyle>
          <a:p>
            <a:r>
              <a:rPr lang="de-DE"/>
              <a:t>Bild durch Klicken auf Symbol hinzufügen</a:t>
            </a:r>
            <a:endParaRPr lang="en-US"/>
          </a:p>
        </p:txBody>
      </p:sp>
      <p:sp>
        <p:nvSpPr>
          <p:cNvPr id="5" name="Footer Placeholder 4">
            <a:extLst>
              <a:ext uri="{FF2B5EF4-FFF2-40B4-BE49-F238E27FC236}">
                <a16:creationId xmlns:a16="http://schemas.microsoft.com/office/drawing/2014/main" id="{2FE804F9-626A-46E9-9608-08B25EE71066}"/>
              </a:ext>
            </a:extLst>
          </p:cNvPr>
          <p:cNvSpPr>
            <a:spLocks noGrp="1"/>
          </p:cNvSpPr>
          <p:nvPr>
            <p:ph type="ftr" sz="quarter" idx="11"/>
          </p:nvPr>
        </p:nvSpPr>
        <p:spPr/>
        <p:txBody>
          <a:bodyPr/>
          <a:lstStyle>
            <a:lvl1pPr>
              <a:defRPr>
                <a:solidFill>
                  <a:schemeClr val="bg1"/>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9274C594-B7AA-4F15-BF7A-E391D31ABE59}"/>
              </a:ext>
            </a:extLst>
          </p:cNvPr>
          <p:cNvSpPr>
            <a:spLocks noGrp="1"/>
          </p:cNvSpPr>
          <p:nvPr>
            <p:ph type="sldNum" sz="quarter" idx="12"/>
          </p:nvPr>
        </p:nvSpPr>
        <p:spPr/>
        <p:txBody>
          <a:bodyPr/>
          <a:lstStyle>
            <a:lvl1pPr>
              <a:defRPr>
                <a:solidFill>
                  <a:schemeClr val="bg1"/>
                </a:solidFill>
              </a:defRPr>
            </a:lvl1pPr>
          </a:lstStyle>
          <a:p>
            <a:fld id="{FBE75FA5-C509-4590-93CE-878685F65CB2}" type="slidenum">
              <a:rPr lang="en-US" smtClean="0"/>
              <a:pPr/>
              <a:t>‹#›</a:t>
            </a:fld>
            <a:endParaRPr lang="en-US" dirty="0"/>
          </a:p>
        </p:txBody>
      </p:sp>
      <p:sp>
        <p:nvSpPr>
          <p:cNvPr id="10" name="Title 1">
            <a:extLst>
              <a:ext uri="{FF2B5EF4-FFF2-40B4-BE49-F238E27FC236}">
                <a16:creationId xmlns:a16="http://schemas.microsoft.com/office/drawing/2014/main" id="{FA14DFCE-B394-48F5-B8D9-73C75B7AD886}"/>
              </a:ext>
            </a:extLst>
          </p:cNvPr>
          <p:cNvSpPr>
            <a:spLocks noGrp="1"/>
          </p:cNvSpPr>
          <p:nvPr>
            <p:ph type="title" hasCustomPrompt="1"/>
          </p:nvPr>
        </p:nvSpPr>
        <p:spPr>
          <a:xfrm>
            <a:off x="0" y="334800"/>
            <a:ext cx="4571999" cy="3595254"/>
          </a:xfrm>
          <a:solidFill>
            <a:schemeClr val="tx2"/>
          </a:solidFill>
        </p:spPr>
        <p:txBody>
          <a:bodyPr lIns="216000" rIns="108000" bIns="1299600" anchor="b" anchorCtr="0"/>
          <a:lstStyle>
            <a:lvl1pPr>
              <a:lnSpc>
                <a:spcPct val="100000"/>
              </a:lnSpc>
              <a:defRPr sz="3200">
                <a:solidFill>
                  <a:schemeClr val="bg2"/>
                </a:solidFill>
              </a:defRPr>
            </a:lvl1pPr>
          </a:lstStyle>
          <a:p>
            <a:r>
              <a:rPr lang="en-US" dirty="0"/>
              <a:t>Click to edit </a:t>
            </a:r>
            <a:br>
              <a:rPr lang="en-US" dirty="0"/>
            </a:br>
            <a:r>
              <a:rPr lang="en-US" dirty="0"/>
              <a:t>Master title </a:t>
            </a:r>
            <a:br>
              <a:rPr lang="en-US" dirty="0"/>
            </a:br>
            <a:r>
              <a:rPr lang="en-US" dirty="0"/>
              <a:t>style</a:t>
            </a:r>
          </a:p>
        </p:txBody>
      </p:sp>
      <p:sp>
        <p:nvSpPr>
          <p:cNvPr id="3" name="Subtitle 2">
            <a:extLst>
              <a:ext uri="{FF2B5EF4-FFF2-40B4-BE49-F238E27FC236}">
                <a16:creationId xmlns:a16="http://schemas.microsoft.com/office/drawing/2014/main" id="{21FACA36-DE8E-4683-958C-35C12B2FDD98}"/>
              </a:ext>
            </a:extLst>
          </p:cNvPr>
          <p:cNvSpPr>
            <a:spLocks noGrp="1"/>
          </p:cNvSpPr>
          <p:nvPr>
            <p:ph type="subTitle" idx="1"/>
          </p:nvPr>
        </p:nvSpPr>
        <p:spPr bwMode="white">
          <a:xfrm>
            <a:off x="214922" y="2710800"/>
            <a:ext cx="4032000" cy="406800"/>
          </a:xfrm>
        </p:spPr>
        <p:txBody>
          <a:bodyPr>
            <a:noAutofit/>
          </a:bodyPr>
          <a:lstStyle>
            <a:lvl1pPr marL="0" indent="0" algn="l">
              <a:buNone/>
              <a:defRPr sz="140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4" name="Text Placeholder 15">
            <a:extLst>
              <a:ext uri="{FF2B5EF4-FFF2-40B4-BE49-F238E27FC236}">
                <a16:creationId xmlns:a16="http://schemas.microsoft.com/office/drawing/2014/main" id="{396D8A20-7D66-4917-B9D8-E9E015FA55D2}"/>
              </a:ext>
            </a:extLst>
          </p:cNvPr>
          <p:cNvSpPr>
            <a:spLocks noGrp="1"/>
          </p:cNvSpPr>
          <p:nvPr>
            <p:ph type="body" sz="quarter" idx="16" hasCustomPrompt="1"/>
          </p:nvPr>
        </p:nvSpPr>
        <p:spPr>
          <a:xfrm>
            <a:off x="217279" y="3259183"/>
            <a:ext cx="4032000" cy="138499"/>
          </a:xfrm>
        </p:spPr>
        <p:txBody>
          <a:bodyPr anchor="t" anchorCtr="0">
            <a:noAutofit/>
          </a:bodyPr>
          <a:lstStyle>
            <a:lvl1pPr>
              <a:defRPr sz="900">
                <a:solidFill>
                  <a:schemeClr val="bg2"/>
                </a:solidFill>
              </a:defRPr>
            </a:lvl1pPr>
          </a:lstStyle>
          <a:p>
            <a:pPr lvl="0"/>
            <a:r>
              <a:rPr lang="en-US" dirty="0"/>
              <a:t>Presenter Name – </a:t>
            </a:r>
          </a:p>
        </p:txBody>
      </p:sp>
      <p:sp>
        <p:nvSpPr>
          <p:cNvPr id="15" name="Text Placeholder 15">
            <a:extLst>
              <a:ext uri="{FF2B5EF4-FFF2-40B4-BE49-F238E27FC236}">
                <a16:creationId xmlns:a16="http://schemas.microsoft.com/office/drawing/2014/main" id="{88411BC6-07BF-4C4E-9498-1506111DB78C}"/>
              </a:ext>
            </a:extLst>
          </p:cNvPr>
          <p:cNvSpPr>
            <a:spLocks noGrp="1"/>
          </p:cNvSpPr>
          <p:nvPr>
            <p:ph type="body" sz="quarter" idx="21" hasCustomPrompt="1"/>
          </p:nvPr>
        </p:nvSpPr>
        <p:spPr>
          <a:xfrm>
            <a:off x="215900" y="3427441"/>
            <a:ext cx="4032000" cy="138499"/>
          </a:xfrm>
        </p:spPr>
        <p:txBody>
          <a:bodyPr anchor="t" anchorCtr="0">
            <a:noAutofit/>
          </a:bodyPr>
          <a:lstStyle>
            <a:lvl1pPr>
              <a:defRPr sz="900">
                <a:solidFill>
                  <a:schemeClr val="bg2"/>
                </a:solidFill>
              </a:defRPr>
            </a:lvl1pPr>
          </a:lstStyle>
          <a:p>
            <a:pPr lvl="0"/>
            <a:r>
              <a:rPr lang="en-US" dirty="0"/>
              <a:t>Presenter Title – </a:t>
            </a:r>
          </a:p>
        </p:txBody>
      </p:sp>
      <p:sp>
        <p:nvSpPr>
          <p:cNvPr id="16" name="Text Placeholder 15">
            <a:extLst>
              <a:ext uri="{FF2B5EF4-FFF2-40B4-BE49-F238E27FC236}">
                <a16:creationId xmlns:a16="http://schemas.microsoft.com/office/drawing/2014/main" id="{C3250EF1-94AB-4A75-8FD9-8D45BD8DD25C}"/>
              </a:ext>
            </a:extLst>
          </p:cNvPr>
          <p:cNvSpPr>
            <a:spLocks noGrp="1"/>
          </p:cNvSpPr>
          <p:nvPr>
            <p:ph type="body" sz="quarter" idx="22" hasCustomPrompt="1"/>
          </p:nvPr>
        </p:nvSpPr>
        <p:spPr>
          <a:xfrm>
            <a:off x="216421" y="3595699"/>
            <a:ext cx="4032000" cy="138499"/>
          </a:xfrm>
        </p:spPr>
        <p:txBody>
          <a:bodyPr anchor="t" anchorCtr="0">
            <a:noAutofit/>
          </a:bodyPr>
          <a:lstStyle>
            <a:lvl1pPr>
              <a:defRPr sz="900">
                <a:solidFill>
                  <a:schemeClr val="bg2"/>
                </a:solidFill>
              </a:defRPr>
            </a:lvl1pPr>
          </a:lstStyle>
          <a:p>
            <a:pPr lvl="0"/>
            <a:r>
              <a:rPr lang="en-US" dirty="0"/>
              <a:t>Date – </a:t>
            </a:r>
          </a:p>
        </p:txBody>
      </p:sp>
      <p:sp>
        <p:nvSpPr>
          <p:cNvPr id="11" name="Text Placeholder 7">
            <a:extLst>
              <a:ext uri="{FF2B5EF4-FFF2-40B4-BE49-F238E27FC236}">
                <a16:creationId xmlns:a16="http://schemas.microsoft.com/office/drawing/2014/main" id="{C9AB65DE-0F83-4D80-B6F2-514B55C7A4E3}"/>
              </a:ext>
            </a:extLst>
          </p:cNvPr>
          <p:cNvSpPr>
            <a:spLocks noGrp="1"/>
          </p:cNvSpPr>
          <p:nvPr>
            <p:ph type="body" sz="quarter" idx="23"/>
          </p:nvPr>
        </p:nvSpPr>
        <p:spPr>
          <a:xfrm>
            <a:off x="217612" y="559542"/>
            <a:ext cx="1307728" cy="199686"/>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10310106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Slide - Core l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42E028-41A1-4262-8DC5-A91A4DA45548}"/>
              </a:ext>
            </a:extLst>
          </p:cNvPr>
          <p:cNvSpPr/>
          <p:nvPr/>
        </p:nvSpPr>
        <p:spPr>
          <a:xfrm>
            <a:off x="0" y="0"/>
            <a:ext cx="9144000" cy="5143500"/>
          </a:xfrm>
          <a:prstGeom prst="rect">
            <a:avLst/>
          </a:prstGeom>
          <a:solidFill>
            <a:schemeClr val="bg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p:txBody>
          <a:bodyPr/>
          <a:lstStyle/>
          <a:p>
            <a:fld id="{FBE75FA5-C509-4590-93CE-878685F65CB2}" type="slidenum">
              <a:rPr lang="en-US" smtClean="0"/>
              <a:t>‹#›</a:t>
            </a:fld>
            <a:endParaRPr lang="en-US" dirty="0"/>
          </a:p>
        </p:txBody>
      </p:sp>
      <p:sp>
        <p:nvSpPr>
          <p:cNvPr id="9" name="Title 1">
            <a:extLst>
              <a:ext uri="{FF2B5EF4-FFF2-40B4-BE49-F238E27FC236}">
                <a16:creationId xmlns:a16="http://schemas.microsoft.com/office/drawing/2014/main" id="{B59C6EA4-CA5F-44D4-ADA4-CA9255336833}"/>
              </a:ext>
            </a:extLst>
          </p:cNvPr>
          <p:cNvSpPr>
            <a:spLocks noGrp="1"/>
          </p:cNvSpPr>
          <p:nvPr>
            <p:ph type="title"/>
          </p:nvPr>
        </p:nvSpPr>
        <p:spPr>
          <a:xfrm>
            <a:off x="223520" y="561021"/>
            <a:ext cx="3175200" cy="1526400"/>
          </a:xfrm>
          <a:noFill/>
        </p:spPr>
        <p:txBody>
          <a:bodyPr lIns="0" tIns="0" rIns="0" anchor="t" anchorCtr="0"/>
          <a:lstStyle>
            <a:lvl1pPr>
              <a:lnSpc>
                <a:spcPct val="100000"/>
              </a:lnSpc>
              <a:defRPr sz="3200">
                <a:solidFill>
                  <a:schemeClr val="tx2"/>
                </a:solidFill>
                <a:latin typeface="+mn-lt"/>
              </a:defRPr>
            </a:lvl1pPr>
          </a:lstStyle>
          <a:p>
            <a:r>
              <a:rPr lang="de-DE"/>
              <a:t>Mastertitelformat bearbeiten</a:t>
            </a:r>
            <a:endParaRPr lang="en-US" dirty="0"/>
          </a:p>
        </p:txBody>
      </p:sp>
      <p:sp>
        <p:nvSpPr>
          <p:cNvPr id="10" name="Freeform 5">
            <a:extLst>
              <a:ext uri="{FF2B5EF4-FFF2-40B4-BE49-F238E27FC236}">
                <a16:creationId xmlns:a16="http://schemas.microsoft.com/office/drawing/2014/main" id="{4C0B9B9C-72F8-4A92-A0AB-F641302E6317}"/>
              </a:ext>
            </a:extLst>
          </p:cNvPr>
          <p:cNvSpPr>
            <a:spLocks noEditPoints="1"/>
          </p:cNvSpPr>
          <p:nvPr/>
        </p:nvSpPr>
        <p:spPr bwMode="auto">
          <a:xfrm>
            <a:off x="7854983" y="4784532"/>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011F3D"/>
          </a:solidFill>
          <a:ln>
            <a:noFill/>
          </a:ln>
        </p:spPr>
        <p:txBody>
          <a:bodyPr vert="horz" wrap="square" lIns="91440" tIns="45720" rIns="91440" bIns="45720" numCol="1" anchor="t" anchorCtr="0" compatLnSpc="1">
            <a:prstTxWarp prst="textNoShape">
              <a:avLst/>
            </a:prstTxWarp>
          </a:bodyPr>
          <a:lstStyle/>
          <a:p>
            <a:endParaRPr lang="en-US">
              <a:solidFill>
                <a:srgbClr val="011F3D"/>
              </a:solidFill>
            </a:endParaRPr>
          </a:p>
        </p:txBody>
      </p:sp>
    </p:spTree>
    <p:extLst>
      <p:ext uri="{BB962C8B-B14F-4D97-AF65-F5344CB8AC3E}">
        <p14:creationId xmlns:p14="http://schemas.microsoft.com/office/powerpoint/2010/main" val="694550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Slide - Core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D2F14A-4BCF-4583-9DBF-05E49FC0907E}"/>
              </a:ext>
            </a:extLst>
          </p:cNvPr>
          <p:cNvSpPr/>
          <p:nvPr/>
        </p:nvSpPr>
        <p:spPr>
          <a:xfrm>
            <a:off x="0" y="0"/>
            <a:ext cx="9144000" cy="5143500"/>
          </a:xfrm>
          <a:prstGeom prst="rect">
            <a:avLst/>
          </a:prstGeom>
          <a:solidFill>
            <a:schemeClr val="tx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 name="Title 1">
            <a:extLst>
              <a:ext uri="{FF2B5EF4-FFF2-40B4-BE49-F238E27FC236}">
                <a16:creationId xmlns:a16="http://schemas.microsoft.com/office/drawing/2014/main" id="{5AC71437-8BAC-419E-9A66-FFBB6163EC64}"/>
              </a:ext>
            </a:extLst>
          </p:cNvPr>
          <p:cNvSpPr>
            <a:spLocks noGrp="1"/>
          </p:cNvSpPr>
          <p:nvPr>
            <p:ph type="title"/>
          </p:nvPr>
        </p:nvSpPr>
        <p:spPr>
          <a:xfrm>
            <a:off x="223520" y="561021"/>
            <a:ext cx="3175200" cy="1526400"/>
          </a:xfrm>
          <a:noFill/>
        </p:spPr>
        <p:txBody>
          <a:bodyPr lIns="0" tIns="0" rIns="0" anchor="t" anchorCtr="0"/>
          <a:lstStyle>
            <a:lvl1pPr>
              <a:lnSpc>
                <a:spcPct val="100000"/>
              </a:lnSpc>
              <a:defRPr sz="3200">
                <a:solidFill>
                  <a:schemeClr val="bg2"/>
                </a:solidFill>
                <a:latin typeface="+mn-lt"/>
              </a:defRPr>
            </a:lvl1pPr>
          </a:lstStyle>
          <a:p>
            <a:r>
              <a:rPr lang="de-DE"/>
              <a:t>Mastertitelformat bearbeiten</a:t>
            </a:r>
            <a:endParaRPr lang="en-US" dirty="0"/>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bwMode="white"/>
        <p:txBody>
          <a:bodyPr/>
          <a:lstStyle>
            <a:lvl1pPr>
              <a:defRPr>
                <a:solidFill>
                  <a:schemeClr val="bg2"/>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bwMode="white"/>
        <p:txBody>
          <a:bodyPr/>
          <a:lstStyle>
            <a:lvl1pPr>
              <a:defRPr>
                <a:solidFill>
                  <a:schemeClr val="bg2"/>
                </a:solidFill>
              </a:defRPr>
            </a:lvl1pPr>
          </a:lstStyle>
          <a:p>
            <a:fld id="{FBE75FA5-C509-4590-93CE-878685F65CB2}" type="slidenum">
              <a:rPr lang="en-US" smtClean="0"/>
              <a:pPr/>
              <a:t>‹#›</a:t>
            </a:fld>
            <a:endParaRPr lang="en-US" dirty="0"/>
          </a:p>
        </p:txBody>
      </p:sp>
      <p:sp>
        <p:nvSpPr>
          <p:cNvPr id="7" name="Freeform 5">
            <a:extLst>
              <a:ext uri="{FF2B5EF4-FFF2-40B4-BE49-F238E27FC236}">
                <a16:creationId xmlns:a16="http://schemas.microsoft.com/office/drawing/2014/main" id="{14FEBA1C-AA01-45B6-883F-1431AE628F56}"/>
              </a:ext>
            </a:extLst>
          </p:cNvPr>
          <p:cNvSpPr>
            <a:spLocks noEditPoints="1"/>
          </p:cNvSpPr>
          <p:nvPr/>
        </p:nvSpPr>
        <p:spPr bwMode="auto">
          <a:xfrm>
            <a:off x="7853912" y="4784178"/>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F2F2E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72386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Slide - Bright puls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C7EF892-6433-48C1-86DA-02F7ED28D9AE}"/>
              </a:ext>
            </a:extLst>
          </p:cNvPr>
          <p:cNvSpPr/>
          <p:nvPr/>
        </p:nvSpPr>
        <p:spPr>
          <a:xfrm>
            <a:off x="0" y="0"/>
            <a:ext cx="9144000" cy="5143500"/>
          </a:xfrm>
          <a:prstGeom prst="rect">
            <a:avLst/>
          </a:prstGeom>
          <a:solidFill>
            <a:schemeClr val="accent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bwMode="white"/>
        <p:txBody>
          <a:bodyPr/>
          <a:lstStyle>
            <a:lvl1pPr>
              <a:defRPr>
                <a:solidFill>
                  <a:schemeClr val="bg2"/>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bwMode="white"/>
        <p:txBody>
          <a:bodyPr/>
          <a:lstStyle>
            <a:lvl1pPr>
              <a:defRPr>
                <a:solidFill>
                  <a:schemeClr val="bg2"/>
                </a:solidFill>
              </a:defRPr>
            </a:lvl1pPr>
          </a:lstStyle>
          <a:p>
            <a:fld id="{FBE75FA5-C509-4590-93CE-878685F65CB2}" type="slidenum">
              <a:rPr lang="en-US" smtClean="0"/>
              <a:pPr/>
              <a:t>‹#›</a:t>
            </a:fld>
            <a:endParaRPr lang="en-US" dirty="0"/>
          </a:p>
        </p:txBody>
      </p:sp>
      <p:sp>
        <p:nvSpPr>
          <p:cNvPr id="8" name="Title 1">
            <a:extLst>
              <a:ext uri="{FF2B5EF4-FFF2-40B4-BE49-F238E27FC236}">
                <a16:creationId xmlns:a16="http://schemas.microsoft.com/office/drawing/2014/main" id="{0A00BAFC-E1DF-431F-9DDF-5DDFB8AA5BCF}"/>
              </a:ext>
            </a:extLst>
          </p:cNvPr>
          <p:cNvSpPr>
            <a:spLocks noGrp="1"/>
          </p:cNvSpPr>
          <p:nvPr>
            <p:ph type="title"/>
          </p:nvPr>
        </p:nvSpPr>
        <p:spPr>
          <a:xfrm>
            <a:off x="223520" y="561021"/>
            <a:ext cx="3175200" cy="1526400"/>
          </a:xfrm>
          <a:noFill/>
        </p:spPr>
        <p:txBody>
          <a:bodyPr lIns="0" tIns="0" rIns="0" anchor="t" anchorCtr="0"/>
          <a:lstStyle>
            <a:lvl1pPr>
              <a:lnSpc>
                <a:spcPct val="100000"/>
              </a:lnSpc>
              <a:defRPr sz="3200">
                <a:solidFill>
                  <a:schemeClr val="bg2"/>
                </a:solidFill>
                <a:latin typeface="+mn-lt"/>
              </a:defRPr>
            </a:lvl1pPr>
          </a:lstStyle>
          <a:p>
            <a:r>
              <a:rPr lang="de-DE"/>
              <a:t>Mastertitelformat bearbeiten</a:t>
            </a:r>
            <a:endParaRPr lang="en-US" dirty="0"/>
          </a:p>
        </p:txBody>
      </p:sp>
      <p:sp>
        <p:nvSpPr>
          <p:cNvPr id="10" name="Freeform 5">
            <a:extLst>
              <a:ext uri="{FF2B5EF4-FFF2-40B4-BE49-F238E27FC236}">
                <a16:creationId xmlns:a16="http://schemas.microsoft.com/office/drawing/2014/main" id="{00FAE473-A3D2-47A7-8C9B-212093B1DEED}"/>
              </a:ext>
            </a:extLst>
          </p:cNvPr>
          <p:cNvSpPr>
            <a:spLocks noEditPoints="1"/>
          </p:cNvSpPr>
          <p:nvPr/>
        </p:nvSpPr>
        <p:spPr bwMode="auto">
          <a:xfrm>
            <a:off x="7853912" y="4784178"/>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F2F2E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2576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Slide  - Bright sens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881202-EA90-4A65-805D-7197BCDD163E}"/>
              </a:ext>
            </a:extLst>
          </p:cNvPr>
          <p:cNvSpPr/>
          <p:nvPr/>
        </p:nvSpPr>
        <p:spPr>
          <a:xfrm>
            <a:off x="0" y="0"/>
            <a:ext cx="9144000" cy="5143500"/>
          </a:xfrm>
          <a:prstGeom prst="rect">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5" name="Footer Placeholder 4">
            <a:extLst>
              <a:ext uri="{FF2B5EF4-FFF2-40B4-BE49-F238E27FC236}">
                <a16:creationId xmlns:a16="http://schemas.microsoft.com/office/drawing/2014/main" id="{D156B0D9-175F-4D3C-AD38-24B1C4643E7E}"/>
              </a:ext>
            </a:extLst>
          </p:cNvPr>
          <p:cNvSpPr>
            <a:spLocks noGrp="1"/>
          </p:cNvSpPr>
          <p:nvPr>
            <p:ph type="ftr" sz="quarter" idx="11"/>
          </p:nvPr>
        </p:nvSpPr>
        <p:spPr/>
        <p:txBody>
          <a:bodyPr/>
          <a:lstStyle>
            <a:lvl1pPr>
              <a:defRPr>
                <a:solidFill>
                  <a:schemeClr val="tx2"/>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3E4E16C-70A2-4C98-8D9D-0F719122E91A}"/>
              </a:ext>
            </a:extLst>
          </p:cNvPr>
          <p:cNvSpPr>
            <a:spLocks noGrp="1"/>
          </p:cNvSpPr>
          <p:nvPr>
            <p:ph type="sldNum" sz="quarter" idx="12"/>
          </p:nvPr>
        </p:nvSpPr>
        <p:spPr/>
        <p:txBody>
          <a:bodyPr/>
          <a:lstStyle>
            <a:lvl1pPr>
              <a:defRPr>
                <a:solidFill>
                  <a:schemeClr val="tx2"/>
                </a:solidFill>
              </a:defRPr>
            </a:lvl1pPr>
          </a:lstStyle>
          <a:p>
            <a:fld id="{FBE75FA5-C509-4590-93CE-878685F65CB2}" type="slidenum">
              <a:rPr lang="en-US" smtClean="0"/>
              <a:pPr/>
              <a:t>‹#›</a:t>
            </a:fld>
            <a:endParaRPr lang="en-US" dirty="0"/>
          </a:p>
        </p:txBody>
      </p:sp>
      <p:sp>
        <p:nvSpPr>
          <p:cNvPr id="9" name="Title 1">
            <a:extLst>
              <a:ext uri="{FF2B5EF4-FFF2-40B4-BE49-F238E27FC236}">
                <a16:creationId xmlns:a16="http://schemas.microsoft.com/office/drawing/2014/main" id="{BA941C2D-8A03-44DB-8E42-8B64DCE7765E}"/>
              </a:ext>
            </a:extLst>
          </p:cNvPr>
          <p:cNvSpPr>
            <a:spLocks noGrp="1"/>
          </p:cNvSpPr>
          <p:nvPr>
            <p:ph type="title"/>
          </p:nvPr>
        </p:nvSpPr>
        <p:spPr>
          <a:xfrm>
            <a:off x="223520" y="561021"/>
            <a:ext cx="3175200" cy="1526400"/>
          </a:xfrm>
          <a:noFill/>
        </p:spPr>
        <p:txBody>
          <a:bodyPr lIns="0" tIns="0" rIns="0" anchor="t" anchorCtr="0"/>
          <a:lstStyle>
            <a:lvl1pPr>
              <a:lnSpc>
                <a:spcPct val="100000"/>
              </a:lnSpc>
              <a:defRPr sz="3200">
                <a:solidFill>
                  <a:schemeClr val="tx2"/>
                </a:solidFill>
                <a:latin typeface="+mn-lt"/>
              </a:defRPr>
            </a:lvl1pPr>
          </a:lstStyle>
          <a:p>
            <a:r>
              <a:rPr lang="de-DE"/>
              <a:t>Mastertitelformat bearbeiten</a:t>
            </a:r>
            <a:endParaRPr lang="en-US" dirty="0"/>
          </a:p>
        </p:txBody>
      </p:sp>
      <p:sp>
        <p:nvSpPr>
          <p:cNvPr id="10" name="Freeform 5">
            <a:extLst>
              <a:ext uri="{FF2B5EF4-FFF2-40B4-BE49-F238E27FC236}">
                <a16:creationId xmlns:a16="http://schemas.microsoft.com/office/drawing/2014/main" id="{DB96EC0A-D343-4100-AF23-061460AD2BE1}"/>
              </a:ext>
            </a:extLst>
          </p:cNvPr>
          <p:cNvSpPr>
            <a:spLocks noEditPoints="1"/>
          </p:cNvSpPr>
          <p:nvPr/>
        </p:nvSpPr>
        <p:spPr bwMode="auto">
          <a:xfrm>
            <a:off x="7854983" y="4784532"/>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011F3D"/>
          </a:solidFill>
          <a:ln>
            <a:noFill/>
          </a:ln>
        </p:spPr>
        <p:txBody>
          <a:bodyPr vert="horz" wrap="square" lIns="91440" tIns="45720" rIns="91440" bIns="45720" numCol="1" anchor="t" anchorCtr="0" compatLnSpc="1">
            <a:prstTxWarp prst="textNoShape">
              <a:avLst/>
            </a:prstTxWarp>
          </a:bodyPr>
          <a:lstStyle/>
          <a:p>
            <a:endParaRPr lang="en-US">
              <a:solidFill>
                <a:srgbClr val="011F3D"/>
              </a:solidFill>
            </a:endParaRPr>
          </a:p>
        </p:txBody>
      </p:sp>
    </p:spTree>
    <p:extLst>
      <p:ext uri="{BB962C8B-B14F-4D97-AF65-F5344CB8AC3E}">
        <p14:creationId xmlns:p14="http://schemas.microsoft.com/office/powerpoint/2010/main" val="3777998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A520E0-03F6-449E-8503-AE3A31C02EB9}"/>
              </a:ext>
            </a:extLst>
          </p:cNvPr>
          <p:cNvSpPr>
            <a:spLocks noGrp="1"/>
          </p:cNvSpPr>
          <p:nvPr>
            <p:ph type="title"/>
          </p:nvPr>
        </p:nvSpPr>
        <p:spPr>
          <a:xfrm>
            <a:off x="215900" y="196850"/>
            <a:ext cx="8712000" cy="360000"/>
          </a:xfrm>
          <a:prstGeom prst="rect">
            <a:avLst/>
          </a:prstGeom>
        </p:spPr>
        <p:txBody>
          <a:bodyPr vert="horz" lIns="0" tIns="0" rIns="0" bIns="0" rtlCol="0" anchor="t" anchorCtr="0">
            <a:noAutofit/>
          </a:bodyPr>
          <a:lstStyle/>
          <a:p>
            <a:r>
              <a:rPr lang="en-US"/>
              <a:t>Mastertitelformat bearbeiten</a:t>
            </a:r>
            <a:endParaRPr lang="en-US" dirty="0"/>
          </a:p>
        </p:txBody>
      </p:sp>
      <p:sp>
        <p:nvSpPr>
          <p:cNvPr id="3" name="Text Placeholder 2">
            <a:extLst>
              <a:ext uri="{FF2B5EF4-FFF2-40B4-BE49-F238E27FC236}">
                <a16:creationId xmlns:a16="http://schemas.microsoft.com/office/drawing/2014/main" id="{6D1C018E-FFF4-4227-B358-6E92D25E612A}"/>
              </a:ext>
            </a:extLst>
          </p:cNvPr>
          <p:cNvSpPr>
            <a:spLocks noGrp="1"/>
          </p:cNvSpPr>
          <p:nvPr>
            <p:ph type="body" idx="1"/>
          </p:nvPr>
        </p:nvSpPr>
        <p:spPr>
          <a:xfrm>
            <a:off x="215900" y="1166813"/>
            <a:ext cx="8712000" cy="3421062"/>
          </a:xfrm>
          <a:prstGeom prst="rect">
            <a:avLst/>
          </a:prstGeom>
        </p:spPr>
        <p:txBody>
          <a:bodyPr vert="horz" lIns="0" tIns="0" rIns="0" bIns="0" rtlCol="0">
            <a:noAutofit/>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Footer Placeholder 4">
            <a:extLst>
              <a:ext uri="{FF2B5EF4-FFF2-40B4-BE49-F238E27FC236}">
                <a16:creationId xmlns:a16="http://schemas.microsoft.com/office/drawing/2014/main" id="{D2E0BB04-46A4-464C-9A41-A9A0692FF120}"/>
              </a:ext>
            </a:extLst>
          </p:cNvPr>
          <p:cNvSpPr>
            <a:spLocks noGrp="1"/>
          </p:cNvSpPr>
          <p:nvPr>
            <p:ph type="ftr" sz="quarter" idx="3"/>
          </p:nvPr>
        </p:nvSpPr>
        <p:spPr>
          <a:xfrm>
            <a:off x="530812" y="4879015"/>
            <a:ext cx="3895524" cy="84960"/>
          </a:xfrm>
          <a:prstGeom prst="rect">
            <a:avLst/>
          </a:prstGeom>
        </p:spPr>
        <p:txBody>
          <a:bodyPr vert="horz" wrap="square" lIns="0" tIns="0" rIns="0" bIns="0" rtlCol="0" anchor="t" anchorCtr="0">
            <a:noAutofit/>
          </a:bodyPr>
          <a:lstStyle>
            <a:lvl1pPr algn="l">
              <a:defRPr sz="600">
                <a:solidFill>
                  <a:schemeClr val="tx2"/>
                </a:solidFill>
              </a:defRPr>
            </a:lvl1pPr>
          </a:lstStyle>
          <a:p>
            <a:r>
              <a:rPr lang="en-US" dirty="0"/>
              <a:t>© 2024 Software AG. All rights reserved. For internal use only and for Software AG Partners.</a:t>
            </a:r>
          </a:p>
        </p:txBody>
      </p:sp>
      <p:sp>
        <p:nvSpPr>
          <p:cNvPr id="6" name="Slide Number Placeholder 5">
            <a:extLst>
              <a:ext uri="{FF2B5EF4-FFF2-40B4-BE49-F238E27FC236}">
                <a16:creationId xmlns:a16="http://schemas.microsoft.com/office/drawing/2014/main" id="{3CB4095A-296F-4780-A899-D0F4D128E375}"/>
              </a:ext>
            </a:extLst>
          </p:cNvPr>
          <p:cNvSpPr>
            <a:spLocks noGrp="1"/>
          </p:cNvSpPr>
          <p:nvPr>
            <p:ph type="sldNum" sz="quarter" idx="4"/>
          </p:nvPr>
        </p:nvSpPr>
        <p:spPr>
          <a:xfrm>
            <a:off x="217612" y="4882588"/>
            <a:ext cx="313200" cy="84960"/>
          </a:xfrm>
          <a:prstGeom prst="rect">
            <a:avLst/>
          </a:prstGeom>
        </p:spPr>
        <p:txBody>
          <a:bodyPr vert="horz" wrap="square" lIns="0" tIns="0" rIns="0" bIns="0" rtlCol="0" anchor="t" anchorCtr="0">
            <a:noAutofit/>
          </a:bodyPr>
          <a:lstStyle>
            <a:lvl1pPr algn="l">
              <a:defRPr sz="600">
                <a:solidFill>
                  <a:schemeClr val="tx2"/>
                </a:solidFill>
              </a:defRPr>
            </a:lvl1pPr>
          </a:lstStyle>
          <a:p>
            <a:fld id="{FBE75FA5-C509-4590-93CE-878685F65CB2}" type="slidenum">
              <a:rPr lang="en-US" smtClean="0"/>
              <a:pPr/>
              <a:t>‹#›</a:t>
            </a:fld>
            <a:endParaRPr lang="en-US" dirty="0"/>
          </a:p>
        </p:txBody>
      </p:sp>
      <p:sp>
        <p:nvSpPr>
          <p:cNvPr id="7" name="Freeform 5">
            <a:extLst>
              <a:ext uri="{FF2B5EF4-FFF2-40B4-BE49-F238E27FC236}">
                <a16:creationId xmlns:a16="http://schemas.microsoft.com/office/drawing/2014/main" id="{B55AB3DB-1389-4AB2-8136-FCD9EA2FF5CD}"/>
              </a:ext>
            </a:extLst>
          </p:cNvPr>
          <p:cNvSpPr>
            <a:spLocks noEditPoints="1"/>
          </p:cNvSpPr>
          <p:nvPr/>
        </p:nvSpPr>
        <p:spPr bwMode="auto">
          <a:xfrm>
            <a:off x="7854983" y="4784532"/>
            <a:ext cx="1072917" cy="163568"/>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rgbClr val="011F3D"/>
          </a:solidFill>
          <a:ln>
            <a:noFill/>
          </a:ln>
        </p:spPr>
        <p:txBody>
          <a:bodyPr vert="horz" wrap="square" lIns="91440" tIns="45720" rIns="91440" bIns="45720" numCol="1" anchor="t" anchorCtr="0" compatLnSpc="1">
            <a:prstTxWarp prst="textNoShape">
              <a:avLst/>
            </a:prstTxWarp>
          </a:bodyPr>
          <a:lstStyle/>
          <a:p>
            <a:endParaRPr lang="en-US">
              <a:solidFill>
                <a:srgbClr val="011F3D"/>
              </a:solidFill>
            </a:endParaRPr>
          </a:p>
        </p:txBody>
      </p:sp>
    </p:spTree>
    <p:extLst>
      <p:ext uri="{BB962C8B-B14F-4D97-AF65-F5344CB8AC3E}">
        <p14:creationId xmlns:p14="http://schemas.microsoft.com/office/powerpoint/2010/main" val="344016572"/>
      </p:ext>
    </p:extLst>
  </p:cSld>
  <p:clrMap bg1="lt1" tx1="dk1" bg2="lt2" tx2="dk2" accent1="accent1" accent2="accent2" accent3="accent3" accent4="accent4" accent5="accent5" accent6="accent6" hlink="hlink" folHlink="folHlink"/>
  <p:sldLayoutIdLst>
    <p:sldLayoutId id="2147483683" r:id="rId1"/>
    <p:sldLayoutId id="2147483688" r:id="rId2"/>
    <p:sldLayoutId id="2147483689" r:id="rId3"/>
    <p:sldLayoutId id="2147483690" r:id="rId4"/>
    <p:sldLayoutId id="2147483654" r:id="rId5"/>
    <p:sldLayoutId id="2147483656" r:id="rId6"/>
    <p:sldLayoutId id="2147483680" r:id="rId7"/>
    <p:sldLayoutId id="2147483685" r:id="rId8"/>
    <p:sldLayoutId id="2147483686" r:id="rId9"/>
    <p:sldLayoutId id="2147483687" r:id="rId10"/>
    <p:sldLayoutId id="2147483651" r:id="rId11"/>
    <p:sldLayoutId id="2147483655" r:id="rId12"/>
    <p:sldLayoutId id="2147483650" r:id="rId13"/>
    <p:sldLayoutId id="2147483676" r:id="rId14"/>
    <p:sldLayoutId id="2147483678" r:id="rId15"/>
    <p:sldLayoutId id="2147483670" r:id="rId16"/>
    <p:sldLayoutId id="2147483671" r:id="rId17"/>
    <p:sldLayoutId id="2147483675" r:id="rId18"/>
    <p:sldLayoutId id="2147483674" r:id="rId19"/>
    <p:sldLayoutId id="2147483672" r:id="rId20"/>
    <p:sldLayoutId id="2147483673" r:id="rId21"/>
    <p:sldLayoutId id="2147483663" r:id="rId22"/>
    <p:sldLayoutId id="2147483668" r:id="rId23"/>
    <p:sldLayoutId id="2147483661" r:id="rId24"/>
    <p:sldLayoutId id="2147483662" r:id="rId25"/>
    <p:sldLayoutId id="2147483787" r:id="rId26"/>
    <p:sldLayoutId id="2147483788" r:id="rId27"/>
  </p:sldLayoutIdLst>
  <p:hf hdr="0" dt="0"/>
  <p:txStyles>
    <p:titleStyle>
      <a:lvl1pPr algn="l" defTabSz="685800" rtl="0" eaLnBrk="1" latinLnBrk="0" hangingPunct="1">
        <a:lnSpc>
          <a:spcPct val="90000"/>
        </a:lnSpc>
        <a:spcBef>
          <a:spcPct val="0"/>
        </a:spcBef>
        <a:buNone/>
        <a:defRPr sz="22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300"/>
        </a:spcBef>
        <a:buFontTx/>
        <a:buNone/>
        <a:defRPr sz="1400" kern="1200">
          <a:solidFill>
            <a:schemeClr val="tx2"/>
          </a:solidFill>
          <a:latin typeface="+mn-lt"/>
          <a:ea typeface="+mn-ea"/>
          <a:cs typeface="+mn-cs"/>
        </a:defRPr>
      </a:lvl1pPr>
      <a:lvl2pPr marL="169200" indent="-180000" algn="l" defTabSz="685800" rtl="0" eaLnBrk="1" latinLnBrk="0" hangingPunct="1">
        <a:lnSpc>
          <a:spcPct val="100000"/>
        </a:lnSpc>
        <a:spcBef>
          <a:spcPts val="432"/>
        </a:spcBef>
        <a:buClr>
          <a:schemeClr val="tx2"/>
        </a:buClr>
        <a:buFont typeface="Arial" panose="020B0604020202020204" pitchFamily="34" charset="0"/>
        <a:buChar char="•"/>
        <a:defRPr sz="1400" kern="1200">
          <a:solidFill>
            <a:schemeClr val="tx2"/>
          </a:solidFill>
          <a:latin typeface="+mn-lt"/>
          <a:ea typeface="+mn-ea"/>
          <a:cs typeface="+mn-cs"/>
        </a:defRPr>
      </a:lvl2pPr>
      <a:lvl3pPr marL="360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3pPr>
      <a:lvl4pPr marL="684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4pPr>
      <a:lvl5pPr marL="972000" indent="-180000" algn="l" defTabSz="685800" rtl="0" eaLnBrk="1" latinLnBrk="0" hangingPunct="1">
        <a:lnSpc>
          <a:spcPct val="100000"/>
        </a:lnSpc>
        <a:spcBef>
          <a:spcPts val="300"/>
        </a:spcBef>
        <a:buClr>
          <a:schemeClr val="tx2"/>
        </a:buClr>
        <a:buFont typeface="Arial" panose="020B0604020202020204" pitchFamily="34" charset="0"/>
        <a:buChar char="–"/>
        <a:defRPr sz="10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1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23" userDrawn="1">
          <p15:clr>
            <a:srgbClr val="F26B43"/>
          </p15:clr>
        </p15:guide>
        <p15:guide id="3" pos="136" userDrawn="1">
          <p15:clr>
            <a:srgbClr val="F26B43"/>
          </p15:clr>
        </p15:guide>
        <p15:guide id="4" pos="5624" userDrawn="1">
          <p15:clr>
            <a:srgbClr val="F26B43"/>
          </p15:clr>
        </p15:guide>
        <p15:guide id="5" orient="horz" pos="2890" userDrawn="1">
          <p15:clr>
            <a:srgbClr val="F26B43"/>
          </p15:clr>
        </p15:guide>
        <p15:guide id="6" orient="horz" pos="735" userDrawn="1">
          <p15:clr>
            <a:srgbClr val="F26B43"/>
          </p15:clr>
        </p15:guide>
        <p15:guide id="7" orient="horz" pos="3117" userDrawn="1">
          <p15:clr>
            <a:srgbClr val="F26B43"/>
          </p15:clr>
        </p15:guide>
        <p15:guide id="8" orient="horz" pos="351" userDrawn="1">
          <p15:clr>
            <a:srgbClr val="F26B43"/>
          </p15:clr>
        </p15:guide>
        <p15:guide id="9"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5.xml"/><Relationship Id="rId5" Type="http://schemas.openxmlformats.org/officeDocument/2006/relationships/image" Target="../media/image14.png"/><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5.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notesSlide" Target="../notesSlides/notesSlide10.xml"/><Relationship Id="rId5" Type="http://schemas.openxmlformats.org/officeDocument/2006/relationships/slideLayout" Target="../slideLayouts/slideLayout13.xml"/><Relationship Id="rId4" Type="http://schemas.openxmlformats.org/officeDocument/2006/relationships/tags" Target="../tags/tag58.xml"/></Relationships>
</file>

<file path=ppt/slides/_rels/slide11.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notesSlide" Target="../notesSlides/notesSlide1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slide" Target="slide33.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slideLayout" Target="../slideLayouts/slideLayout26.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slide" Target="slide29.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slide" Target="slide11.xml"/><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slide" Target="slide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7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1.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14.xml"/><Relationship Id="rId11" Type="http://schemas.openxmlformats.org/officeDocument/2006/relationships/image" Target="../media/image22.png"/><Relationship Id="rId5" Type="http://schemas.openxmlformats.org/officeDocument/2006/relationships/slideLayout" Target="../slideLayouts/slideLayout27.xml"/><Relationship Id="rId10" Type="http://schemas.openxmlformats.org/officeDocument/2006/relationships/image" Target="../media/image21.png"/><Relationship Id="rId4" Type="http://schemas.openxmlformats.org/officeDocument/2006/relationships/tags" Target="../tags/tag82.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5.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36.png"/><Relationship Id="rId5" Type="http://schemas.openxmlformats.org/officeDocument/2006/relationships/image" Target="../media/image33.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37.png"/><Relationship Id="rId5" Type="http://schemas.openxmlformats.org/officeDocument/2006/relationships/image" Target="../media/image33.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0.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91.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92.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93.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96.xml"/><Relationship Id="rId7" Type="http://schemas.openxmlformats.org/officeDocument/2006/relationships/slideLayout" Target="../slideLayouts/slideLayout14.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45.png"/></Relationships>
</file>

<file path=ppt/slides/_rels/slide2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2.xml"/><Relationship Id="rId7" Type="http://schemas.openxmlformats.org/officeDocument/2006/relationships/image" Target="../media/image46.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notesSlide" Target="../notesSlides/notesSlide28.xml"/><Relationship Id="rId5" Type="http://schemas.openxmlformats.org/officeDocument/2006/relationships/slideLayout" Target="../slideLayouts/slideLayout14.xml"/><Relationship Id="rId4" Type="http://schemas.openxmlformats.org/officeDocument/2006/relationships/tags" Target="../tags/tag103.xml"/></Relationships>
</file>

<file path=ppt/slides/_rels/slide2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tags" Target="../tags/tag106.xml"/><Relationship Id="rId21" Type="http://schemas.openxmlformats.org/officeDocument/2006/relationships/notesSlide" Target="../notesSlides/notesSlide29.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slide" Target="slide33.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slideLayout" Target="../slideLayouts/slideLayout26.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slide" Target="slide29.xml"/><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slide" Target="slide11.xml"/><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slide" Target="slide4.xml"/></Relationships>
</file>

<file path=ppt/slides/_rels/slide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notesSlide" Target="../notesSlides/notesSlide3.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slide" Target="slide3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slide" Target="slide29.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slide" Target="slide11.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slide" Target="slide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7.xml"/><Relationship Id="rId1" Type="http://schemas.openxmlformats.org/officeDocument/2006/relationships/tags" Target="../tags/tag12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7.xml"/><Relationship Id="rId1" Type="http://schemas.openxmlformats.org/officeDocument/2006/relationships/tags" Target="../tags/tag124.xml"/></Relationships>
</file>

<file path=ppt/slides/_rels/slide32.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notesSlide" Target="../notesSlides/notesSlide32.xml"/><Relationship Id="rId4"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3" Type="http://schemas.openxmlformats.org/officeDocument/2006/relationships/tags" Target="../tags/tag130.xml"/><Relationship Id="rId21" Type="http://schemas.openxmlformats.org/officeDocument/2006/relationships/notesSlide" Target="../notesSlides/notesSlide33.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slide" Target="slide33.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slideLayout" Target="../slideLayouts/slideLayout26.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slide" Target="slide29.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slide" Target="slide11.xml"/><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slide" Target="slide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147.xml"/><Relationship Id="rId6" Type="http://schemas.openxmlformats.org/officeDocument/2006/relationships/hyperlink" Target="https://sagportal.sharepoint.com/:f:/r/sites/PSAIMTechnologyGroups/Shared%20Documents/TIG%20Enablement/04.%20Community%20Webcast%20Recordings/2021/2021.09.24%20-%20API%20Gateway%20Staging%20Solution?csf=1&amp;web=1&amp;e=cfqBzn" TargetMode="External"/><Relationship Id="rId5" Type="http://schemas.openxmlformats.org/officeDocument/2006/relationships/hyperlink" Target="https://sagportal.sharepoint.com/:w:/r/sites/TLAOffers/Shared%20Documents/Integration%20and%20API%20Offers/AIM0018%20Setup%20API%20Deployment%20Processes/v2/PRIME%20Content/PRIME%20Guide%20-%20API%20Gateway%20Staging%20Solution%20Set-up.docx?d=w1b6a88c671294dbc940e5204a0eb7db8&amp;csf=1&amp;web=1&amp;e=ioA91X" TargetMode="External"/><Relationship Id="rId4" Type="http://schemas.openxmlformats.org/officeDocument/2006/relationships/hyperlink" Target="https://github.com/thesse1/webmethods-api-gateway-staging"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3" Type="http://schemas.openxmlformats.org/officeDocument/2006/relationships/tags" Target="../tags/tag28.xml"/><Relationship Id="rId21" Type="http://schemas.openxmlformats.org/officeDocument/2006/relationships/notesSlide" Target="../notesSlides/notesSlide4.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slide" Target="slide33.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slideLayout" Target="../slideLayouts/slideLayout26.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slide" Target="slide29.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slide" Target="slide11.xml"/><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slide" Target="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5.emf"/><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5.emf"/><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5.emf"/><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5.emf"/><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5.emf"/><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descr="Ein Bild, das Gebäude, farbig, Tisch, jung enthält.&#10;&#10;Automatisch generierte Beschreibung">
            <a:extLst>
              <a:ext uri="{FF2B5EF4-FFF2-40B4-BE49-F238E27FC236}">
                <a16:creationId xmlns:a16="http://schemas.microsoft.com/office/drawing/2014/main" id="{78423111-3D3D-4C82-A3D2-48CE4A12E26B}"/>
              </a:ext>
            </a:extLst>
          </p:cNvPr>
          <p:cNvPicPr>
            <a:picLocks noGrp="1" noChangeAspect="1"/>
          </p:cNvPicPr>
          <p:nvPr>
            <p:ph type="pic" sz="quarter" idx="19"/>
          </p:nvPr>
        </p:nvPicPr>
        <p:blipFill>
          <a:blip r:embed="rId4"/>
          <a:srcRect t="3125" b="3125"/>
          <a:stretch>
            <a:fillRect/>
          </a:stretch>
        </p:blipFill>
        <p:spPr/>
      </p:pic>
      <p:sp>
        <p:nvSpPr>
          <p:cNvPr id="4" name="Slide Number Placeholder 3">
            <a:extLst>
              <a:ext uri="{FF2B5EF4-FFF2-40B4-BE49-F238E27FC236}">
                <a16:creationId xmlns:a16="http://schemas.microsoft.com/office/drawing/2014/main" id="{B69BFE73-AB87-412A-8363-FEC14B2F17AB}"/>
              </a:ext>
            </a:extLst>
          </p:cNvPr>
          <p:cNvSpPr>
            <a:spLocks noGrp="1"/>
          </p:cNvSpPr>
          <p:nvPr>
            <p:ph type="sldNum" sz="quarter" idx="12"/>
          </p:nvPr>
        </p:nvSpPr>
        <p:spPr/>
        <p:txBody>
          <a:bodyPr/>
          <a:lstStyle/>
          <a:p>
            <a:fld id="{FBE75FA5-C509-4590-93CE-878685F65CB2}" type="slidenum">
              <a:rPr lang="en-US" smtClean="0"/>
              <a:pPr/>
              <a:t>1</a:t>
            </a:fld>
            <a:endParaRPr lang="en-US" dirty="0"/>
          </a:p>
        </p:txBody>
      </p:sp>
      <p:sp>
        <p:nvSpPr>
          <p:cNvPr id="2" name="Titel 1">
            <a:extLst>
              <a:ext uri="{FF2B5EF4-FFF2-40B4-BE49-F238E27FC236}">
                <a16:creationId xmlns:a16="http://schemas.microsoft.com/office/drawing/2014/main" id="{406D5B62-C0A2-4500-9B43-A0BC4081E9B3}"/>
              </a:ext>
            </a:extLst>
          </p:cNvPr>
          <p:cNvSpPr>
            <a:spLocks noGrp="1"/>
          </p:cNvSpPr>
          <p:nvPr>
            <p:ph type="title"/>
          </p:nvPr>
        </p:nvSpPr>
        <p:spPr>
          <a:xfrm>
            <a:off x="1" y="334800"/>
            <a:ext cx="4571999" cy="3595254"/>
          </a:xfrm>
        </p:spPr>
        <p:txBody>
          <a:bodyPr/>
          <a:lstStyle/>
          <a:p>
            <a:r>
              <a:rPr lang="en-US" sz="2800" cap="all" dirty="0"/>
              <a:t>Prime </a:t>
            </a:r>
            <a:r>
              <a:rPr lang="en-US" sz="2800" dirty="0"/>
              <a:t>Guide</a:t>
            </a:r>
            <a:br>
              <a:rPr lang="en-US" cap="all" dirty="0"/>
            </a:br>
            <a:r>
              <a:rPr lang="en-US" sz="2800" dirty="0"/>
              <a:t>API Gateway Staging Solution Overview</a:t>
            </a:r>
          </a:p>
        </p:txBody>
      </p:sp>
      <p:sp>
        <p:nvSpPr>
          <p:cNvPr id="5" name="Untertitel 4">
            <a:extLst>
              <a:ext uri="{FF2B5EF4-FFF2-40B4-BE49-F238E27FC236}">
                <a16:creationId xmlns:a16="http://schemas.microsoft.com/office/drawing/2014/main" id="{44B91A14-D681-4026-B53C-777ABDE62589}"/>
              </a:ext>
            </a:extLst>
          </p:cNvPr>
          <p:cNvSpPr>
            <a:spLocks noGrp="1"/>
          </p:cNvSpPr>
          <p:nvPr>
            <p:ph type="subTitle" idx="1"/>
          </p:nvPr>
        </p:nvSpPr>
        <p:spPr/>
        <p:txBody>
          <a:bodyPr/>
          <a:lstStyle/>
          <a:p>
            <a:r>
              <a:rPr lang="en-US" dirty="0"/>
              <a:t>Integration &amp; API</a:t>
            </a:r>
          </a:p>
          <a:p>
            <a:endParaRPr lang="de-DE" dirty="0"/>
          </a:p>
        </p:txBody>
      </p:sp>
      <p:sp>
        <p:nvSpPr>
          <p:cNvPr id="9" name="Textplatzhalter 8">
            <a:extLst>
              <a:ext uri="{FF2B5EF4-FFF2-40B4-BE49-F238E27FC236}">
                <a16:creationId xmlns:a16="http://schemas.microsoft.com/office/drawing/2014/main" id="{BB892D79-A5D8-43B4-9472-9A251F332F61}"/>
              </a:ext>
            </a:extLst>
          </p:cNvPr>
          <p:cNvSpPr>
            <a:spLocks noGrp="1"/>
          </p:cNvSpPr>
          <p:nvPr>
            <p:ph type="body" sz="quarter" idx="22"/>
          </p:nvPr>
        </p:nvSpPr>
        <p:spPr/>
        <p:txBody>
          <a:bodyPr/>
          <a:lstStyle/>
          <a:p>
            <a:r>
              <a:rPr lang="en-US" dirty="0"/>
              <a:t>Version 2.0  |  June 2024</a:t>
            </a:r>
          </a:p>
          <a:p>
            <a:endParaRPr lang="de-DE" dirty="0"/>
          </a:p>
        </p:txBody>
      </p:sp>
      <p:sp>
        <p:nvSpPr>
          <p:cNvPr id="10" name="Textplatzhalter 9">
            <a:extLst>
              <a:ext uri="{FF2B5EF4-FFF2-40B4-BE49-F238E27FC236}">
                <a16:creationId xmlns:a16="http://schemas.microsoft.com/office/drawing/2014/main" id="{9B03A211-E01A-4432-97F5-502DCF051694}"/>
              </a:ext>
            </a:extLst>
          </p:cNvPr>
          <p:cNvSpPr>
            <a:spLocks noGrp="1"/>
          </p:cNvSpPr>
          <p:nvPr>
            <p:ph type="body" sz="quarter" idx="23"/>
          </p:nvPr>
        </p:nvSpPr>
        <p:spPr>
          <a:xfrm>
            <a:off x="217612" y="576599"/>
            <a:ext cx="1307728" cy="199686"/>
          </a:xfrm>
        </p:spPr>
        <p:txBody>
          <a:bodyPr/>
          <a:lstStyle/>
          <a:p>
            <a:endParaRPr lang="en-US" dirty="0"/>
          </a:p>
        </p:txBody>
      </p:sp>
      <p:pic>
        <p:nvPicPr>
          <p:cNvPr id="27" name="Grafik 26" descr="Ein Bild, das Zeichnung enthält.&#10;&#10;Automatisch generierte Beschreibung">
            <a:extLst>
              <a:ext uri="{FF2B5EF4-FFF2-40B4-BE49-F238E27FC236}">
                <a16:creationId xmlns:a16="http://schemas.microsoft.com/office/drawing/2014/main" id="{866375F2-824C-47E2-AA67-C27DBED60078}"/>
              </a:ext>
            </a:extLst>
          </p:cNvPr>
          <p:cNvPicPr>
            <a:picLocks noChangeAspect="1"/>
          </p:cNvPicPr>
          <p:nvPr/>
        </p:nvPicPr>
        <p:blipFill>
          <a:blip r:embed="rId5"/>
          <a:stretch>
            <a:fillRect/>
          </a:stretch>
        </p:blipFill>
        <p:spPr>
          <a:xfrm>
            <a:off x="3427306" y="496519"/>
            <a:ext cx="1076957" cy="359847"/>
          </a:xfrm>
          <a:prstGeom prst="rect">
            <a:avLst/>
          </a:prstGeom>
        </p:spPr>
      </p:pic>
      <p:sp>
        <p:nvSpPr>
          <p:cNvPr id="11" name="Round Diagonal Corner Rectangle 6">
            <a:extLst>
              <a:ext uri="{FF2B5EF4-FFF2-40B4-BE49-F238E27FC236}">
                <a16:creationId xmlns:a16="http://schemas.microsoft.com/office/drawing/2014/main" id="{B35EE4FB-CE07-43AE-BBCD-0E5A9E98B92A}"/>
              </a:ext>
            </a:extLst>
          </p:cNvPr>
          <p:cNvSpPr>
            <a:spLocks/>
          </p:cNvSpPr>
          <p:nvPr>
            <p:custDataLst>
              <p:tags r:id="rId1"/>
            </p:custDataLst>
          </p:nvPr>
        </p:nvSpPr>
        <p:spPr>
          <a:xfrm>
            <a:off x="214921" y="3077234"/>
            <a:ext cx="1964666" cy="375166"/>
          </a:xfrm>
          <a:prstGeom prst="round2DiagRect">
            <a:avLst/>
          </a:prstGeom>
          <a:solidFill>
            <a:srgbClr val="9A50F8"/>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err="1">
                <a:solidFill>
                  <a:schemeClr val="bg1"/>
                </a:solidFill>
              </a:rPr>
              <a:t>for</a:t>
            </a:r>
            <a:r>
              <a:rPr lang="de-DE" sz="1600" b="1" dirty="0">
                <a:solidFill>
                  <a:schemeClr val="bg1"/>
                </a:solidFill>
              </a:rPr>
              <a:t> </a:t>
            </a:r>
            <a:r>
              <a:rPr lang="de-DE" sz="1600" b="1" dirty="0" err="1">
                <a:solidFill>
                  <a:schemeClr val="bg1"/>
                </a:solidFill>
              </a:rPr>
              <a:t>project-use</a:t>
            </a:r>
            <a:endParaRPr lang="de-DE" sz="1600" b="1" dirty="0">
              <a:solidFill>
                <a:schemeClr val="bg1"/>
              </a:solidFill>
            </a:endParaRPr>
          </a:p>
        </p:txBody>
      </p:sp>
      <p:sp>
        <p:nvSpPr>
          <p:cNvPr id="6" name="Fußzeilenplatzhalter 5">
            <a:extLst>
              <a:ext uri="{FF2B5EF4-FFF2-40B4-BE49-F238E27FC236}">
                <a16:creationId xmlns:a16="http://schemas.microsoft.com/office/drawing/2014/main" id="{F9A04536-FD64-472F-9847-B298D615A9A2}"/>
              </a:ext>
            </a:extLst>
          </p:cNvPr>
          <p:cNvSpPr>
            <a:spLocks noGrp="1"/>
          </p:cNvSpPr>
          <p:nvPr>
            <p:ph type="ftr" sz="quarter" idx="11"/>
          </p:nvPr>
        </p:nvSpPr>
        <p:spPr/>
        <p:txBody>
          <a:bodyPr/>
          <a:lstStyle/>
          <a:p>
            <a:r>
              <a:rPr lang="en-US" dirty="0"/>
              <a:t>© 2024 Software AG. All rights reserved. For internal use only and for Software AG Partners.</a:t>
            </a:r>
          </a:p>
        </p:txBody>
      </p:sp>
    </p:spTree>
    <p:extLst>
      <p:ext uri="{BB962C8B-B14F-4D97-AF65-F5344CB8AC3E}">
        <p14:creationId xmlns:p14="http://schemas.microsoft.com/office/powerpoint/2010/main" val="4451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dditional Features Available for all API Gateway Environments</a:t>
            </a:r>
          </a:p>
        </p:txBody>
      </p:sp>
      <p:sp>
        <p:nvSpPr>
          <p:cNvPr id="2" name="Fußzeilenplatzhalter 1">
            <a:extLst>
              <a:ext uri="{FF2B5EF4-FFF2-40B4-BE49-F238E27FC236}">
                <a16:creationId xmlns:a16="http://schemas.microsoft.com/office/drawing/2014/main" id="{1192598F-891C-49EF-942D-23A8650216D3}"/>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10</a:t>
            </a:fld>
            <a:endParaRPr lang="en-US" dirty="0"/>
          </a:p>
        </p:txBody>
      </p:sp>
      <p:sp>
        <p:nvSpPr>
          <p:cNvPr id="8" name="Textplatzhalter 7">
            <a:extLst>
              <a:ext uri="{FF2B5EF4-FFF2-40B4-BE49-F238E27FC236}">
                <a16:creationId xmlns:a16="http://schemas.microsoft.com/office/drawing/2014/main" id="{C3A3BFF9-A2AF-4A01-AFEC-593C951E9D31}"/>
              </a:ext>
            </a:extLst>
          </p:cNvPr>
          <p:cNvSpPr>
            <a:spLocks noGrp="1"/>
          </p:cNvSpPr>
          <p:nvPr>
            <p:ph type="body" sz="quarter" idx="13"/>
          </p:nvPr>
        </p:nvSpPr>
        <p:spPr/>
        <p:txBody>
          <a:bodyPr/>
          <a:lstStyle/>
          <a:p>
            <a:r>
              <a:rPr lang="en-US" dirty="0"/>
              <a:t>Main features</a:t>
            </a:r>
            <a:endParaRPr lang="en-DE" dirty="0"/>
          </a:p>
        </p:txBody>
      </p:sp>
      <p:sp>
        <p:nvSpPr>
          <p:cNvPr id="13" name="Inhaltsplatzhalter 4">
            <a:extLst>
              <a:ext uri="{FF2B5EF4-FFF2-40B4-BE49-F238E27FC236}">
                <a16:creationId xmlns:a16="http://schemas.microsoft.com/office/drawing/2014/main" id="{E66C30B6-240E-4BF7-B8F6-E6D4ACCB97A0}"/>
              </a:ext>
            </a:extLst>
          </p:cNvPr>
          <p:cNvSpPr txBox="1">
            <a:spLocks/>
          </p:cNvSpPr>
          <p:nvPr>
            <p:custDataLst>
              <p:tags r:id="rId1"/>
            </p:custDataLst>
          </p:nvPr>
        </p:nvSpPr>
        <p:spPr>
          <a:xfrm>
            <a:off x="270900" y="1040851"/>
            <a:ext cx="8601075" cy="3499247"/>
          </a:xfrm>
          <a:prstGeom prst="rect">
            <a:avLst/>
          </a:prstGeom>
        </p:spPr>
        <p:txBody>
          <a:bodyPr>
            <a:normAutofit/>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dirty="0"/>
              <a:t>Azure DevOps build pipelines for exporting and importing general API Gateway configuration items not bound to specific API projects (like default error processing, extended settings, destinations, ports, keystores, truststores, logging configuration, system settings, global policies, proxy server and proxy bypass settings, loadbalancer, local OAuth2 authorization server alias etc.)</a:t>
            </a:r>
          </a:p>
          <a:p>
            <a:pPr lvl="3">
              <a:buFont typeface="Arial" panose="020B0604020202020204" pitchFamily="34" charset="0"/>
              <a:buChar char="•"/>
            </a:pPr>
            <a:r>
              <a:rPr lang="en-US" dirty="0"/>
              <a:t>Useful for setting up new API Gateway environments or for resetting existing environments to a defined state</a:t>
            </a:r>
          </a:p>
          <a:p>
            <a:pPr lvl="3">
              <a:buFont typeface="Arial" panose="020B0604020202020204" pitchFamily="34" charset="0"/>
              <a:buChar char="•"/>
            </a:pPr>
            <a:r>
              <a:rPr lang="en-US" dirty="0"/>
              <a:t>Optional: Configuration of High Availability and Fault Tolerance (HAFT) solution</a:t>
            </a:r>
          </a:p>
          <a:p>
            <a:pPr>
              <a:buFont typeface="Arial" panose="020B0604020202020204" pitchFamily="34" charset="0"/>
              <a:buChar char="•"/>
            </a:pPr>
            <a:r>
              <a:rPr lang="en-US" dirty="0"/>
              <a:t>Azure DevOps build pipelines for purging analytics data</a:t>
            </a:r>
          </a:p>
          <a:p>
            <a:pPr lvl="3">
              <a:buFont typeface="Arial" panose="020B0604020202020204" pitchFamily="34" charset="0"/>
              <a:buChar char="•"/>
            </a:pPr>
            <a:r>
              <a:rPr lang="en-US" dirty="0"/>
              <a:t>Can be scheduled to run automatically in regular intervals</a:t>
            </a:r>
          </a:p>
          <a:p>
            <a:pPr lvl="3">
              <a:buFont typeface="Arial" panose="020B0604020202020204" pitchFamily="34" charset="0"/>
              <a:buChar char="•"/>
            </a:pPr>
            <a:r>
              <a:rPr lang="en-US" dirty="0"/>
              <a:t>Can be customized to implement different data retention policies</a:t>
            </a:r>
          </a:p>
        </p:txBody>
      </p:sp>
      <p:pic>
        <p:nvPicPr>
          <p:cNvPr id="3" name="Picture 2">
            <a:extLst>
              <a:ext uri="{FF2B5EF4-FFF2-40B4-BE49-F238E27FC236}">
                <a16:creationId xmlns:a16="http://schemas.microsoft.com/office/drawing/2014/main" id="{27C087B5-F9B2-D41B-6035-94D4649C5922}"/>
              </a:ext>
            </a:extLst>
          </p:cNvPr>
          <p:cNvPicPr>
            <a:picLocks noChangeAspect="1"/>
          </p:cNvPicPr>
          <p:nvPr/>
        </p:nvPicPr>
        <p:blipFill>
          <a:blip r:embed="rId7"/>
          <a:stretch>
            <a:fillRect/>
          </a:stretch>
        </p:blipFill>
        <p:spPr>
          <a:xfrm>
            <a:off x="7545914" y="195263"/>
            <a:ext cx="1382186" cy="570604"/>
          </a:xfrm>
          <a:prstGeom prst="rect">
            <a:avLst/>
          </a:prstGeom>
        </p:spPr>
      </p:pic>
      <p:sp>
        <p:nvSpPr>
          <p:cNvPr id="5" name="Rectangle 4">
            <a:extLst>
              <a:ext uri="{FF2B5EF4-FFF2-40B4-BE49-F238E27FC236}">
                <a16:creationId xmlns:a16="http://schemas.microsoft.com/office/drawing/2014/main" id="{6EAA91F4-027B-05F5-8CE5-6E39A9A4B1DB}"/>
              </a:ext>
            </a:extLst>
          </p:cNvPr>
          <p:cNvSpPr/>
          <p:nvPr>
            <p:custDataLst>
              <p:tags r:id="rId2"/>
            </p:custDataLst>
          </p:nvPr>
        </p:nvSpPr>
        <p:spPr>
          <a:xfrm flipV="1">
            <a:off x="7636669" y="167578"/>
            <a:ext cx="1262061" cy="27057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6" name="Rectangle 5">
            <a:extLst>
              <a:ext uri="{FF2B5EF4-FFF2-40B4-BE49-F238E27FC236}">
                <a16:creationId xmlns:a16="http://schemas.microsoft.com/office/drawing/2014/main" id="{0742C552-5DE4-D81E-6D09-456DFFD79826}"/>
              </a:ext>
            </a:extLst>
          </p:cNvPr>
          <p:cNvSpPr/>
          <p:nvPr>
            <p:custDataLst>
              <p:tags r:id="rId3"/>
            </p:custDataLst>
          </p:nvPr>
        </p:nvSpPr>
        <p:spPr>
          <a:xfrm flipV="1">
            <a:off x="8396020" y="585784"/>
            <a:ext cx="226486" cy="15240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7" name="Rectangle 6">
            <a:extLst>
              <a:ext uri="{FF2B5EF4-FFF2-40B4-BE49-F238E27FC236}">
                <a16:creationId xmlns:a16="http://schemas.microsoft.com/office/drawing/2014/main" id="{9C1A6D0C-DC56-45A9-37F7-275928CA4E32}"/>
              </a:ext>
            </a:extLst>
          </p:cNvPr>
          <p:cNvSpPr/>
          <p:nvPr>
            <p:custDataLst>
              <p:tags r:id="rId4"/>
            </p:custDataLst>
          </p:nvPr>
        </p:nvSpPr>
        <p:spPr>
          <a:xfrm flipV="1">
            <a:off x="7545914" y="585784"/>
            <a:ext cx="226486" cy="15240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176960039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70AFF2-F7F1-45BB-B20D-CF5B886050C0}"/>
              </a:ext>
            </a:extLst>
          </p:cNvPr>
          <p:cNvSpPr>
            <a:spLocks noGrp="1"/>
          </p:cNvSpPr>
          <p:nvPr>
            <p:ph type="subTitle" sz="quarter" idx="1"/>
          </p:nvPr>
        </p:nvSpPr>
        <p:spPr/>
        <p:txBody>
          <a:bodyPr/>
          <a:lstStyle/>
          <a:p>
            <a:endParaRPr lang="de-DE" dirty="0"/>
          </a:p>
        </p:txBody>
      </p:sp>
      <p:sp>
        <p:nvSpPr>
          <p:cNvPr id="23" name="Footer Placeholder 22">
            <a:extLst>
              <a:ext uri="{FF2B5EF4-FFF2-40B4-BE49-F238E27FC236}">
                <a16:creationId xmlns:a16="http://schemas.microsoft.com/office/drawing/2014/main" id="{73126F4B-7F63-3BBF-391D-88CD3063A106}"/>
              </a:ext>
            </a:extLst>
          </p:cNvPr>
          <p:cNvSpPr>
            <a:spLocks noGrp="1"/>
          </p:cNvSpPr>
          <p:nvPr>
            <p:ph type="ftr" sz="quarter" idx="11"/>
          </p:nvPr>
        </p:nvSpPr>
        <p:spPr/>
        <p:txBody>
          <a:bodyPr/>
          <a:lstStyle/>
          <a:p>
            <a:r>
              <a:rPr lang="en-US"/>
              <a:t>© 2024 Software AG. All rights reserved. For internal use only and for Software AG Partners.</a:t>
            </a:r>
            <a:endParaRPr lang="en-US" dirty="0"/>
          </a:p>
        </p:txBody>
      </p:sp>
      <p:sp>
        <p:nvSpPr>
          <p:cNvPr id="27" name="Slide Number Placeholder 26">
            <a:extLst>
              <a:ext uri="{FF2B5EF4-FFF2-40B4-BE49-F238E27FC236}">
                <a16:creationId xmlns:a16="http://schemas.microsoft.com/office/drawing/2014/main" id="{4470923D-CA9D-5FFA-1411-22E71E34E986}"/>
              </a:ext>
            </a:extLst>
          </p:cNvPr>
          <p:cNvSpPr>
            <a:spLocks noGrp="1"/>
          </p:cNvSpPr>
          <p:nvPr>
            <p:ph type="sldNum" sz="quarter" idx="12"/>
          </p:nvPr>
        </p:nvSpPr>
        <p:spPr/>
        <p:txBody>
          <a:bodyPr/>
          <a:lstStyle/>
          <a:p>
            <a:fld id="{22FF84AA-2C76-4AF1-8502-73D25D47F37C}" type="slidenum">
              <a:rPr lang="en-US" smtClean="0"/>
              <a:pPr/>
              <a:t>11</a:t>
            </a:fld>
            <a:endParaRPr lang="en-US" dirty="0"/>
          </a:p>
        </p:txBody>
      </p:sp>
      <p:grpSp>
        <p:nvGrpSpPr>
          <p:cNvPr id="31" name="Group 30">
            <a:extLst>
              <a:ext uri="{FF2B5EF4-FFF2-40B4-BE49-F238E27FC236}">
                <a16:creationId xmlns:a16="http://schemas.microsoft.com/office/drawing/2014/main" id="{FF607B37-CC78-18EB-6A89-E18AE13E0C98}"/>
              </a:ext>
            </a:extLst>
          </p:cNvPr>
          <p:cNvGrpSpPr/>
          <p:nvPr>
            <p:custDataLst>
              <p:tags r:id="rId2"/>
            </p:custDataLst>
          </p:nvPr>
        </p:nvGrpSpPr>
        <p:grpSpPr>
          <a:xfrm>
            <a:off x="272026" y="1259794"/>
            <a:ext cx="6852048" cy="2041200"/>
            <a:chOff x="272026" y="1259794"/>
            <a:chExt cx="6852048" cy="2041200"/>
          </a:xfrm>
        </p:grpSpPr>
        <p:grpSp>
          <p:nvGrpSpPr>
            <p:cNvPr id="28" name="MIO_AGENDA_ELEMENT_DECORATOR_4">
              <a:extLst>
                <a:ext uri="{FF2B5EF4-FFF2-40B4-BE49-F238E27FC236}">
                  <a16:creationId xmlns:a16="http://schemas.microsoft.com/office/drawing/2014/main" id="{F6C87C0E-1651-4964-8214-4B8A6FB75CB9}"/>
                </a:ext>
              </a:extLst>
            </p:cNvPr>
            <p:cNvGrpSpPr/>
            <p:nvPr>
              <p:custDataLst>
                <p:tags r:id="rId4"/>
              </p:custDataLst>
            </p:nvPr>
          </p:nvGrpSpPr>
          <p:grpSpPr>
            <a:xfrm>
              <a:off x="272026" y="2790694"/>
              <a:ext cx="6852048" cy="510300"/>
              <a:chOff x="362701" y="1679725"/>
              <a:chExt cx="9136064" cy="680400"/>
            </a:xfrm>
          </p:grpSpPr>
          <p:cxnSp>
            <p:nvCxnSpPr>
              <p:cNvPr id="29" name="MIO_AGENDA_ELEMENT_DECORATOR_4">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MIO_AGENDA_ELEMENT_DECORATOR_4">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0" name="MIO_AGENDA_ELEMENT_DECORATOR_3">
              <a:extLst>
                <a:ext uri="{FF2B5EF4-FFF2-40B4-BE49-F238E27FC236}">
                  <a16:creationId xmlns:a16="http://schemas.microsoft.com/office/drawing/2014/main" id="{F6C87C0E-1651-4964-8214-4B8A6FB75CB9}"/>
                </a:ext>
              </a:extLst>
            </p:cNvPr>
            <p:cNvGrpSpPr/>
            <p:nvPr>
              <p:custDataLst>
                <p:tags r:id="rId5"/>
              </p:custDataLst>
            </p:nvPr>
          </p:nvGrpSpPr>
          <p:grpSpPr>
            <a:xfrm>
              <a:off x="272026" y="2280394"/>
              <a:ext cx="6852048" cy="510300"/>
              <a:chOff x="362701" y="1679725"/>
              <a:chExt cx="9136064" cy="680400"/>
            </a:xfrm>
          </p:grpSpPr>
          <p:cxnSp>
            <p:nvCxnSpPr>
              <p:cNvPr id="21" name="MIO_AGENDA_ELEMENT_DECORATOR_3">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MIO_AGENDA_ELEMENT_DECORATOR_3">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3" name="MIO_AGENDA_ELEMENT_DECORATOR_2">
              <a:extLst>
                <a:ext uri="{FF2B5EF4-FFF2-40B4-BE49-F238E27FC236}">
                  <a16:creationId xmlns:a16="http://schemas.microsoft.com/office/drawing/2014/main" id="{1A8D0AF9-D849-489E-955F-E4F60B6BF84B}"/>
                </a:ext>
              </a:extLst>
            </p:cNvPr>
            <p:cNvGrpSpPr/>
            <p:nvPr>
              <p:custDataLst>
                <p:tags r:id="rId6"/>
              </p:custDataLst>
            </p:nvPr>
          </p:nvGrpSpPr>
          <p:grpSpPr>
            <a:xfrm>
              <a:off x="272026" y="1770094"/>
              <a:ext cx="6852048" cy="510300"/>
              <a:chOff x="362701" y="2360125"/>
              <a:chExt cx="9136064" cy="680400"/>
            </a:xfrm>
          </p:grpSpPr>
          <p:sp>
            <p:nvSpPr>
              <p:cNvPr id="14" name="MIO_AGENDA_ELEMENT_DECORATOR_2">
                <a:extLst>
                  <a:ext uri="{FF2B5EF4-FFF2-40B4-BE49-F238E27FC236}">
                    <a16:creationId xmlns:a16="http://schemas.microsoft.com/office/drawing/2014/main" id="{DDFD1C8D-67FD-455B-9704-1CE16FFAA7A2}"/>
                  </a:ext>
                </a:extLst>
              </p:cNvPr>
              <p:cNvSpPr>
                <a:spLocks/>
              </p:cNvSpPr>
              <p:nvPr/>
            </p:nvSpPr>
            <p:spPr>
              <a:xfrm>
                <a:off x="362701" y="2360125"/>
                <a:ext cx="9136064" cy="680400"/>
              </a:xfrm>
              <a:prstGeom prst="rect">
                <a:avLst/>
              </a:prstGeom>
              <a:solidFill>
                <a:schemeClr val="accent1"/>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endParaRPr lang="de-DE" sz="1350" dirty="0">
                  <a:solidFill>
                    <a:schemeClr val="tx1"/>
                  </a:solidFill>
                </a:endParaRPr>
              </a:p>
            </p:txBody>
          </p:sp>
          <p:cxnSp>
            <p:nvCxnSpPr>
              <p:cNvPr id="15" name="MIO_AGENDA_ELEMENT_DECORATOR_2">
                <a:extLst>
                  <a:ext uri="{FF2B5EF4-FFF2-40B4-BE49-F238E27FC236}">
                    <a16:creationId xmlns:a16="http://schemas.microsoft.com/office/drawing/2014/main" id="{2FE8F699-9CAD-48EA-B487-78EB1D3307A8}"/>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MIO_AGENDA_ELEMENT_DECORATOR_2">
                <a:extLst>
                  <a:ext uri="{FF2B5EF4-FFF2-40B4-BE49-F238E27FC236}">
                    <a16:creationId xmlns:a16="http://schemas.microsoft.com/office/drawing/2014/main" id="{5E5E54F6-1EA0-4CBA-8FD9-A9BE679583B4}"/>
                  </a:ext>
                </a:extLst>
              </p:cNvPr>
              <p:cNvCxnSpPr>
                <a:cxnSpLocks/>
              </p:cNvCxnSpPr>
              <p:nvPr/>
            </p:nvCxnSpPr>
            <p:spPr>
              <a:xfrm>
                <a:off x="362701" y="30405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 name="MIO_AGENDA_ELEMENT_DECORATOR_1">
              <a:extLst>
                <a:ext uri="{FF2B5EF4-FFF2-40B4-BE49-F238E27FC236}">
                  <a16:creationId xmlns:a16="http://schemas.microsoft.com/office/drawing/2014/main" id="{F6C87C0E-1651-4964-8214-4B8A6FB75CB9}"/>
                </a:ext>
              </a:extLst>
            </p:cNvPr>
            <p:cNvGrpSpPr/>
            <p:nvPr>
              <p:custDataLst>
                <p:tags r:id="rId7"/>
              </p:custDataLst>
            </p:nvPr>
          </p:nvGrpSpPr>
          <p:grpSpPr>
            <a:xfrm>
              <a:off x="272026" y="1259794"/>
              <a:ext cx="6852048" cy="510300"/>
              <a:chOff x="362701" y="1679725"/>
              <a:chExt cx="9136064" cy="680400"/>
            </a:xfrm>
          </p:grpSpPr>
          <p:cxnSp>
            <p:nvCxnSpPr>
              <p:cNvPr id="8" name="MIO_AGENDA_ELEMENT_DECORATOR_1">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MIO_AGENDA_ELEMENT_DECORATOR_1">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MIO_AGENDA_ELEMENT_TITEL_1">
              <a:hlinkClick r:id="rId22" action="ppaction://hlinksldjump"/>
              <a:extLst>
                <a:ext uri="{FF2B5EF4-FFF2-40B4-BE49-F238E27FC236}">
                  <a16:creationId xmlns:a16="http://schemas.microsoft.com/office/drawing/2014/main" id="{B61CB580-DF8B-48AF-BCE7-BFEC15B6A502}"/>
                </a:ext>
              </a:extLst>
            </p:cNvPr>
            <p:cNvSpPr>
              <a:spLocks/>
            </p:cNvSpPr>
            <p:nvPr>
              <p:custDataLst>
                <p:tags r:id="rId8"/>
              </p:custDataLst>
            </p:nvPr>
          </p:nvSpPr>
          <p:spPr>
            <a:xfrm>
              <a:off x="708423" y="12597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en-US" sz="1500">
                  <a:solidFill>
                    <a:schemeClr val="tx1"/>
                  </a:solidFill>
                </a:rPr>
                <a:t>webMethods API Gateway Staging Solution Overview</a:t>
              </a:r>
              <a:endParaRPr lang="de-DE" sz="1500" dirty="0">
                <a:solidFill>
                  <a:schemeClr val="tx1"/>
                </a:solidFill>
              </a:endParaRPr>
            </a:p>
          </p:txBody>
        </p:sp>
        <p:sp>
          <p:nvSpPr>
            <p:cNvPr id="4" name="MIO_AGENDA_ELEMENT_ELEMENTNUMBER_1">
              <a:hlinkClick r:id="rId22" action="ppaction://hlinksldjump"/>
              <a:extLst>
                <a:ext uri="{FF2B5EF4-FFF2-40B4-BE49-F238E27FC236}">
                  <a16:creationId xmlns:a16="http://schemas.microsoft.com/office/drawing/2014/main" id="{1E6469EE-1B98-4322-AEB5-C9BF1E8A474D}"/>
                </a:ext>
              </a:extLst>
            </p:cNvPr>
            <p:cNvSpPr>
              <a:spLocks/>
            </p:cNvSpPr>
            <p:nvPr>
              <p:custDataLst>
                <p:tags r:id="rId9"/>
              </p:custDataLst>
            </p:nvPr>
          </p:nvSpPr>
          <p:spPr>
            <a:xfrm>
              <a:off x="303607" y="12597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1</a:t>
              </a:r>
              <a:endParaRPr lang="de-DE" sz="1500" dirty="0">
                <a:solidFill>
                  <a:schemeClr val="tx1"/>
                </a:solidFill>
              </a:endParaRPr>
            </a:p>
          </p:txBody>
        </p:sp>
        <p:sp>
          <p:nvSpPr>
            <p:cNvPr id="6" name="MIO_AGENDA_ELEMENT_PAGENUMBER_1">
              <a:hlinkClick r:id="rId22" action="ppaction://hlinksldjump"/>
              <a:extLst>
                <a:ext uri="{FF2B5EF4-FFF2-40B4-BE49-F238E27FC236}">
                  <a16:creationId xmlns:a16="http://schemas.microsoft.com/office/drawing/2014/main" id="{188A44A1-90B2-4719-B50D-B1923DD2398F}"/>
                </a:ext>
              </a:extLst>
            </p:cNvPr>
            <p:cNvSpPr>
              <a:spLocks/>
            </p:cNvSpPr>
            <p:nvPr>
              <p:custDataLst>
                <p:tags r:id="rId10"/>
              </p:custDataLst>
            </p:nvPr>
          </p:nvSpPr>
          <p:spPr>
            <a:xfrm>
              <a:off x="6611209" y="12597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4</a:t>
              </a:r>
              <a:endParaRPr lang="de-DE" sz="1500" dirty="0">
                <a:solidFill>
                  <a:schemeClr val="tx1"/>
                </a:solidFill>
              </a:endParaRPr>
            </a:p>
          </p:txBody>
        </p:sp>
        <p:sp>
          <p:nvSpPr>
            <p:cNvPr id="10" name="MIO_AGENDA_ELEMENT_TITEL_2">
              <a:hlinkClick r:id="rId23" action="ppaction://hlinksldjump"/>
              <a:extLst>
                <a:ext uri="{FF2B5EF4-FFF2-40B4-BE49-F238E27FC236}">
                  <a16:creationId xmlns:a16="http://schemas.microsoft.com/office/drawing/2014/main" id="{F2184C5A-DA94-4008-81AA-34FDFCD6C478}"/>
                </a:ext>
              </a:extLst>
            </p:cNvPr>
            <p:cNvSpPr>
              <a:spLocks/>
            </p:cNvSpPr>
            <p:nvPr>
              <p:custDataLst>
                <p:tags r:id="rId11"/>
              </p:custDataLst>
            </p:nvPr>
          </p:nvSpPr>
          <p:spPr>
            <a:xfrm>
              <a:off x="708423" y="17700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b="1">
                  <a:solidFill>
                    <a:schemeClr val="bg1"/>
                  </a:solidFill>
                </a:rPr>
                <a:t>Implementation and Configuration</a:t>
              </a:r>
              <a:endParaRPr lang="de-DE" sz="1500" b="1" dirty="0">
                <a:solidFill>
                  <a:schemeClr val="bg1"/>
                </a:solidFill>
              </a:endParaRPr>
            </a:p>
          </p:txBody>
        </p:sp>
        <p:sp>
          <p:nvSpPr>
            <p:cNvPr id="11" name="MIO_AGENDA_ELEMENT_ELEMENTNUMBER_2">
              <a:hlinkClick r:id="rId23" action="ppaction://hlinksldjump"/>
              <a:extLst>
                <a:ext uri="{FF2B5EF4-FFF2-40B4-BE49-F238E27FC236}">
                  <a16:creationId xmlns:a16="http://schemas.microsoft.com/office/drawing/2014/main" id="{0FB473AD-EB04-417F-BAA5-CFA80CE721A4}"/>
                </a:ext>
              </a:extLst>
            </p:cNvPr>
            <p:cNvSpPr>
              <a:spLocks/>
            </p:cNvSpPr>
            <p:nvPr>
              <p:custDataLst>
                <p:tags r:id="rId12"/>
              </p:custDataLst>
            </p:nvPr>
          </p:nvSpPr>
          <p:spPr>
            <a:xfrm>
              <a:off x="307179" y="1770094"/>
              <a:ext cx="34349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2</a:t>
              </a:r>
              <a:endParaRPr lang="de-DE" sz="1500" b="1" dirty="0">
                <a:solidFill>
                  <a:schemeClr val="bg1"/>
                </a:solidFill>
              </a:endParaRPr>
            </a:p>
          </p:txBody>
        </p:sp>
        <p:sp>
          <p:nvSpPr>
            <p:cNvPr id="12" name="MIO_AGENDA_ELEMENT_PAGENUMBER_2">
              <a:hlinkClick r:id="rId23" action="ppaction://hlinksldjump"/>
              <a:extLst>
                <a:ext uri="{FF2B5EF4-FFF2-40B4-BE49-F238E27FC236}">
                  <a16:creationId xmlns:a16="http://schemas.microsoft.com/office/drawing/2014/main" id="{FC093E87-1577-48CA-AB00-5C075EC783E1}"/>
                </a:ext>
              </a:extLst>
            </p:cNvPr>
            <p:cNvSpPr>
              <a:spLocks/>
            </p:cNvSpPr>
            <p:nvPr>
              <p:custDataLst>
                <p:tags r:id="rId13"/>
              </p:custDataLst>
            </p:nvPr>
          </p:nvSpPr>
          <p:spPr>
            <a:xfrm>
              <a:off x="6611209" y="17700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11</a:t>
              </a:r>
              <a:endParaRPr lang="de-DE" sz="1500" b="1" dirty="0">
                <a:solidFill>
                  <a:schemeClr val="bg1"/>
                </a:solidFill>
              </a:endParaRPr>
            </a:p>
          </p:txBody>
        </p:sp>
        <p:sp>
          <p:nvSpPr>
            <p:cNvPr id="17" name="MIO_AGENDA_ELEMENT_TITEL_3">
              <a:hlinkClick r:id="rId24" action="ppaction://hlinksldjump"/>
              <a:extLst>
                <a:ext uri="{FF2B5EF4-FFF2-40B4-BE49-F238E27FC236}">
                  <a16:creationId xmlns:a16="http://schemas.microsoft.com/office/drawing/2014/main" id="{B61CB580-DF8B-48AF-BCE7-BFEC15B6A502}"/>
                </a:ext>
              </a:extLst>
            </p:cNvPr>
            <p:cNvSpPr>
              <a:spLocks/>
            </p:cNvSpPr>
            <p:nvPr>
              <p:custDataLst>
                <p:tags r:id="rId14"/>
              </p:custDataLst>
            </p:nvPr>
          </p:nvSpPr>
          <p:spPr>
            <a:xfrm>
              <a:off x="708423" y="22803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Alternative Approaches</a:t>
              </a:r>
              <a:endParaRPr lang="de-DE" sz="1500" dirty="0">
                <a:solidFill>
                  <a:schemeClr val="tx1"/>
                </a:solidFill>
              </a:endParaRPr>
            </a:p>
          </p:txBody>
        </p:sp>
        <p:sp>
          <p:nvSpPr>
            <p:cNvPr id="18" name="MIO_AGENDA_ELEMENT_ELEMENTNUMBER_3">
              <a:hlinkClick r:id="rId24" action="ppaction://hlinksldjump"/>
              <a:extLst>
                <a:ext uri="{FF2B5EF4-FFF2-40B4-BE49-F238E27FC236}">
                  <a16:creationId xmlns:a16="http://schemas.microsoft.com/office/drawing/2014/main" id="{1E6469EE-1B98-4322-AEB5-C9BF1E8A474D}"/>
                </a:ext>
              </a:extLst>
            </p:cNvPr>
            <p:cNvSpPr>
              <a:spLocks/>
            </p:cNvSpPr>
            <p:nvPr>
              <p:custDataLst>
                <p:tags r:id="rId15"/>
              </p:custDataLst>
            </p:nvPr>
          </p:nvSpPr>
          <p:spPr>
            <a:xfrm>
              <a:off x="303607" y="22803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3</a:t>
              </a:r>
              <a:endParaRPr lang="de-DE" sz="1500" dirty="0">
                <a:solidFill>
                  <a:schemeClr val="tx1"/>
                </a:solidFill>
              </a:endParaRPr>
            </a:p>
          </p:txBody>
        </p:sp>
        <p:sp>
          <p:nvSpPr>
            <p:cNvPr id="19" name="MIO_AGENDA_ELEMENT_PAGENUMBER_3">
              <a:hlinkClick r:id="rId24" action="ppaction://hlinksldjump"/>
              <a:extLst>
                <a:ext uri="{FF2B5EF4-FFF2-40B4-BE49-F238E27FC236}">
                  <a16:creationId xmlns:a16="http://schemas.microsoft.com/office/drawing/2014/main" id="{188A44A1-90B2-4719-B50D-B1923DD2398F}"/>
                </a:ext>
              </a:extLst>
            </p:cNvPr>
            <p:cNvSpPr>
              <a:spLocks/>
            </p:cNvSpPr>
            <p:nvPr>
              <p:custDataLst>
                <p:tags r:id="rId16"/>
              </p:custDataLst>
            </p:nvPr>
          </p:nvSpPr>
          <p:spPr>
            <a:xfrm>
              <a:off x="6611209" y="22803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29</a:t>
              </a:r>
              <a:endParaRPr lang="de-DE" sz="1500" dirty="0">
                <a:solidFill>
                  <a:schemeClr val="tx1"/>
                </a:solidFill>
              </a:endParaRPr>
            </a:p>
          </p:txBody>
        </p:sp>
        <p:sp>
          <p:nvSpPr>
            <p:cNvPr id="24" name="MIO_AGENDA_ELEMENT_TITEL_4">
              <a:hlinkClick r:id="rId25" action="ppaction://hlinksldjump"/>
              <a:extLst>
                <a:ext uri="{FF2B5EF4-FFF2-40B4-BE49-F238E27FC236}">
                  <a16:creationId xmlns:a16="http://schemas.microsoft.com/office/drawing/2014/main" id="{B61CB580-DF8B-48AF-BCE7-BFEC15B6A502}"/>
                </a:ext>
              </a:extLst>
            </p:cNvPr>
            <p:cNvSpPr>
              <a:spLocks/>
            </p:cNvSpPr>
            <p:nvPr>
              <p:custDataLst>
                <p:tags r:id="rId17"/>
              </p:custDataLst>
            </p:nvPr>
          </p:nvSpPr>
          <p:spPr>
            <a:xfrm>
              <a:off x="708423" y="27906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References</a:t>
              </a:r>
              <a:endParaRPr lang="de-DE" sz="1500" dirty="0">
                <a:solidFill>
                  <a:schemeClr val="tx1"/>
                </a:solidFill>
              </a:endParaRPr>
            </a:p>
          </p:txBody>
        </p:sp>
        <p:sp>
          <p:nvSpPr>
            <p:cNvPr id="25" name="MIO_AGENDA_ELEMENT_ELEMENTNUMBER_4">
              <a:hlinkClick r:id="rId25" action="ppaction://hlinksldjump"/>
              <a:extLst>
                <a:ext uri="{FF2B5EF4-FFF2-40B4-BE49-F238E27FC236}">
                  <a16:creationId xmlns:a16="http://schemas.microsoft.com/office/drawing/2014/main" id="{1E6469EE-1B98-4322-AEB5-C9BF1E8A474D}"/>
                </a:ext>
              </a:extLst>
            </p:cNvPr>
            <p:cNvSpPr>
              <a:spLocks/>
            </p:cNvSpPr>
            <p:nvPr>
              <p:custDataLst>
                <p:tags r:id="rId18"/>
              </p:custDataLst>
            </p:nvPr>
          </p:nvSpPr>
          <p:spPr>
            <a:xfrm>
              <a:off x="303607" y="27906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4</a:t>
              </a:r>
              <a:endParaRPr lang="de-DE" sz="1500" dirty="0">
                <a:solidFill>
                  <a:schemeClr val="tx1"/>
                </a:solidFill>
              </a:endParaRPr>
            </a:p>
          </p:txBody>
        </p:sp>
        <p:sp>
          <p:nvSpPr>
            <p:cNvPr id="26" name="MIO_AGENDA_ELEMENT_PAGENUMBER_4">
              <a:hlinkClick r:id="rId25" action="ppaction://hlinksldjump"/>
              <a:extLst>
                <a:ext uri="{FF2B5EF4-FFF2-40B4-BE49-F238E27FC236}">
                  <a16:creationId xmlns:a16="http://schemas.microsoft.com/office/drawing/2014/main" id="{188A44A1-90B2-4719-B50D-B1923DD2398F}"/>
                </a:ext>
              </a:extLst>
            </p:cNvPr>
            <p:cNvSpPr>
              <a:spLocks/>
            </p:cNvSpPr>
            <p:nvPr>
              <p:custDataLst>
                <p:tags r:id="rId19"/>
              </p:custDataLst>
            </p:nvPr>
          </p:nvSpPr>
          <p:spPr>
            <a:xfrm>
              <a:off x="6611209" y="27906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33</a:t>
              </a:r>
              <a:endParaRPr lang="de-DE" sz="1500" dirty="0">
                <a:solidFill>
                  <a:schemeClr val="tx1"/>
                </a:solidFill>
              </a:endParaRPr>
            </a:p>
          </p:txBody>
        </p:sp>
      </p:grpSp>
      <p:sp>
        <p:nvSpPr>
          <p:cNvPr id="5" name="Title 4">
            <a:extLst>
              <a:ext uri="{FF2B5EF4-FFF2-40B4-BE49-F238E27FC236}">
                <a16:creationId xmlns:a16="http://schemas.microsoft.com/office/drawing/2014/main" id="{DF59139C-523E-7153-7B45-40433BF55885}"/>
              </a:ext>
            </a:extLst>
          </p:cNvPr>
          <p:cNvSpPr>
            <a:spLocks noGrp="1"/>
          </p:cNvSpPr>
          <p:nvPr>
            <p:ph type="title"/>
            <p:custDataLst>
              <p:tags r:id="rId3"/>
            </p:custDataLst>
          </p:nvPr>
        </p:nvSpPr>
        <p:spPr/>
        <p:txBody>
          <a:bodyPr/>
          <a:lstStyle/>
          <a:p>
            <a:r>
              <a:rPr lang="en-US"/>
              <a:t>Agenda</a:t>
            </a:r>
          </a:p>
        </p:txBody>
      </p:sp>
    </p:spTree>
    <p:custDataLst>
      <p:tags r:id="rId1"/>
    </p:custDataLst>
    <p:extLst>
      <p:ext uri="{BB962C8B-B14F-4D97-AF65-F5344CB8AC3E}">
        <p14:creationId xmlns:p14="http://schemas.microsoft.com/office/powerpoint/2010/main" val="1175146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Implementation and Configuration Overview</a:t>
            </a:r>
          </a:p>
        </p:txBody>
      </p:sp>
      <p:sp>
        <p:nvSpPr>
          <p:cNvPr id="2" name="Fußzeilenplatzhalter 1">
            <a:extLst>
              <a:ext uri="{FF2B5EF4-FFF2-40B4-BE49-F238E27FC236}">
                <a16:creationId xmlns:a16="http://schemas.microsoft.com/office/drawing/2014/main" id="{5480DB41-A291-4FA3-905F-F311585DB63C}"/>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12</a:t>
            </a:fld>
            <a:endParaRPr lang="en-US" dirty="0"/>
          </a:p>
        </p:txBody>
      </p:sp>
      <p:sp>
        <p:nvSpPr>
          <p:cNvPr id="3" name="Inhaltsplatzhalter 4">
            <a:extLst>
              <a:ext uri="{FF2B5EF4-FFF2-40B4-BE49-F238E27FC236}">
                <a16:creationId xmlns:a16="http://schemas.microsoft.com/office/drawing/2014/main" id="{0E225901-1778-B583-DC50-CA02CC0BE223}"/>
              </a:ext>
            </a:extLst>
          </p:cNvPr>
          <p:cNvSpPr txBox="1">
            <a:spLocks/>
          </p:cNvSpPr>
          <p:nvPr>
            <p:custDataLst>
              <p:tags r:id="rId1"/>
            </p:custDataLst>
          </p:nvPr>
        </p:nvSpPr>
        <p:spPr>
          <a:xfrm>
            <a:off x="270900" y="1040851"/>
            <a:ext cx="8601075" cy="3499247"/>
          </a:xfrm>
          <a:prstGeom prst="rect">
            <a:avLst/>
          </a:prstGeom>
        </p:spPr>
        <p:txBody>
          <a:bodyPr>
            <a:normAutofit fontScale="92500" lnSpcReduction="10000"/>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sz="1500" dirty="0"/>
              <a:t>The solution can be applied to any set of API Gateway environments</a:t>
            </a:r>
          </a:p>
          <a:p>
            <a:pPr lvl="3">
              <a:buFont typeface="Arial" panose="020B0604020202020204" pitchFamily="34" charset="0"/>
              <a:buChar char="•"/>
            </a:pPr>
            <a:r>
              <a:rPr lang="en-US" dirty="0"/>
              <a:t>Self-hosted on-prem or in private cloud (single instances or clusters)</a:t>
            </a:r>
          </a:p>
          <a:p>
            <a:pPr lvl="3">
              <a:buFont typeface="Arial" panose="020B0604020202020204" pitchFamily="34" charset="0"/>
              <a:buChar char="•"/>
            </a:pPr>
            <a:r>
              <a:rPr lang="en-US" dirty="0"/>
              <a:t>webMethods.io API tenants (on Software AG cloud)</a:t>
            </a:r>
          </a:p>
          <a:p>
            <a:pPr lvl="3">
              <a:buFont typeface="Arial" panose="020B0604020202020204" pitchFamily="34" charset="0"/>
              <a:buChar char="•"/>
            </a:pPr>
            <a:r>
              <a:rPr lang="en-US" dirty="0"/>
              <a:t>Even a mix of self-hosted and webMethods.io API tenants is also supported</a:t>
            </a:r>
          </a:p>
          <a:p>
            <a:pPr lvl="3">
              <a:buFont typeface="Arial" panose="020B0604020202020204" pitchFamily="34" charset="0"/>
              <a:buChar char="•"/>
            </a:pPr>
            <a:r>
              <a:rPr lang="en-US" dirty="0"/>
              <a:t>Minimum set-up: DESIGN, BUILD, plus at least one target environment</a:t>
            </a:r>
          </a:p>
          <a:p>
            <a:pPr lvl="2">
              <a:buFont typeface="Arial" panose="020B0604020202020204" pitchFamily="34" charset="0"/>
              <a:buChar char="•"/>
            </a:pPr>
            <a:r>
              <a:rPr lang="en-US" sz="1500" dirty="0"/>
              <a:t>API Gateway stages may consist of one or more environments</a:t>
            </a:r>
          </a:p>
          <a:p>
            <a:pPr lvl="3">
              <a:buFont typeface="Arial" panose="020B0604020202020204" pitchFamily="34" charset="0"/>
              <a:buChar char="•"/>
            </a:pPr>
            <a:r>
              <a:rPr lang="en-US" dirty="0"/>
              <a:t>The solution will always keep the environments within one stage in sync</a:t>
            </a:r>
          </a:p>
          <a:p>
            <a:pPr lvl="2">
              <a:buFont typeface="Arial" panose="020B0604020202020204" pitchFamily="34" charset="0"/>
              <a:buChar char="•"/>
            </a:pPr>
            <a:r>
              <a:rPr lang="en-US" sz="1500" dirty="0"/>
              <a:t>The solution is only using publicly available, documented and supported API Gateway REST APIs</a:t>
            </a:r>
          </a:p>
          <a:p>
            <a:pPr lvl="2">
              <a:buFont typeface="Arial" panose="020B0604020202020204" pitchFamily="34" charset="0"/>
              <a:buChar char="•"/>
            </a:pPr>
            <a:r>
              <a:rPr lang="en-US" sz="1500" dirty="0"/>
              <a:t>All API Gateway REST API calls are implemented in Postman request collections</a:t>
            </a:r>
          </a:p>
          <a:p>
            <a:pPr lvl="3">
              <a:buFont typeface="Arial" panose="020B0604020202020204" pitchFamily="34" charset="0"/>
              <a:buChar char="•"/>
            </a:pPr>
            <a:r>
              <a:rPr lang="en-US" dirty="0"/>
              <a:t>At runtime, the Postman collections are executed in Azure DevOps build pipelines using the Newman CLI tool for Postman</a:t>
            </a:r>
          </a:p>
          <a:p>
            <a:pPr lvl="3">
              <a:buFont typeface="Arial" panose="020B0604020202020204" pitchFamily="34" charset="0"/>
              <a:buChar char="•"/>
            </a:pPr>
            <a:r>
              <a:rPr lang="en-US" dirty="0"/>
              <a:t>They can also be executed manually in Postman for testing and development</a:t>
            </a:r>
          </a:p>
          <a:p>
            <a:pPr lvl="3">
              <a:buFont typeface="Arial" panose="020B0604020202020204" pitchFamily="34" charset="0"/>
              <a:buChar char="•"/>
            </a:pPr>
            <a:r>
              <a:rPr lang="en-US" dirty="0"/>
              <a:t>Exceptions: API project export and API Gateway configuration export is invoked directly using curl</a:t>
            </a:r>
          </a:p>
          <a:p>
            <a:pPr lvl="2">
              <a:buFont typeface="Arial" panose="020B0604020202020204" pitchFamily="34" charset="0"/>
              <a:buChar char="•"/>
            </a:pPr>
            <a:r>
              <a:rPr lang="en-US" sz="1400" dirty="0"/>
              <a:t>The solution can be set up conveniently using a template for the Azure DevOps Demo Generator</a:t>
            </a:r>
          </a:p>
          <a:p>
            <a:pPr lvl="2">
              <a:buFont typeface="Arial" panose="020B0604020202020204" pitchFamily="34" charset="0"/>
              <a:buChar char="•"/>
            </a:pPr>
            <a:r>
              <a:rPr lang="en-US" sz="1400" dirty="0"/>
              <a:t>The solution can be configured and extended in many ways, for example: New/updated/deleted API projects, API Gateway configuration items, API Gateway environments, stages and environment sets, pipelines implementing specific use cases, Postman collections implementing specific design-time policies</a:t>
            </a:r>
          </a:p>
        </p:txBody>
      </p:sp>
      <p:sp>
        <p:nvSpPr>
          <p:cNvPr id="7" name="Textplatzhalter 7">
            <a:extLst>
              <a:ext uri="{FF2B5EF4-FFF2-40B4-BE49-F238E27FC236}">
                <a16:creationId xmlns:a16="http://schemas.microsoft.com/office/drawing/2014/main" id="{0B53A368-E5D7-48C2-757A-BC1F9659B853}"/>
              </a:ext>
            </a:extLst>
          </p:cNvPr>
          <p:cNvSpPr>
            <a:spLocks noGrp="1"/>
          </p:cNvSpPr>
          <p:nvPr>
            <p:ph type="body" sz="quarter" idx="13"/>
          </p:nvPr>
        </p:nvSpPr>
        <p:spPr>
          <a:xfrm>
            <a:off x="215900" y="628595"/>
            <a:ext cx="8712000" cy="198259"/>
          </a:xfrm>
        </p:spPr>
        <p:txBody>
          <a:bodyPr/>
          <a:lstStyle/>
          <a:p>
            <a:r>
              <a:rPr lang="en-US" dirty="0"/>
              <a:t>Main aspects</a:t>
            </a:r>
            <a:endParaRPr lang="en-DE" dirty="0"/>
          </a:p>
        </p:txBody>
      </p:sp>
    </p:spTree>
    <p:extLst>
      <p:ext uri="{BB962C8B-B14F-4D97-AF65-F5344CB8AC3E}">
        <p14:creationId xmlns:p14="http://schemas.microsoft.com/office/powerpoint/2010/main" val="162813327"/>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zure DevOps Build Pipeline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13</a:t>
            </a:fld>
            <a:endParaRPr lang="en-US" dirty="0"/>
          </a:p>
        </p:txBody>
      </p:sp>
      <p:sp>
        <p:nvSpPr>
          <p:cNvPr id="2" name="Fußzeilenplatzhalter 1">
            <a:extLst>
              <a:ext uri="{FF2B5EF4-FFF2-40B4-BE49-F238E27FC236}">
                <a16:creationId xmlns:a16="http://schemas.microsoft.com/office/drawing/2014/main" id="{CF40BF5C-03B7-465A-97C6-DD3B9D4DBEC7}"/>
              </a:ext>
            </a:extLst>
          </p:cNvPr>
          <p:cNvSpPr>
            <a:spLocks noGrp="1"/>
          </p:cNvSpPr>
          <p:nvPr>
            <p:ph type="ftr" sz="quarter" idx="3"/>
          </p:nvPr>
        </p:nvSpPr>
        <p:spPr/>
        <p:txBody>
          <a:bodyPr/>
          <a:lstStyle/>
          <a:p>
            <a:r>
              <a:rPr lang="en-US" dirty="0"/>
              <a:t>© 2024 Software AG. All rights reserved. For internal use only and for Software AG Partners.</a:t>
            </a:r>
          </a:p>
        </p:txBody>
      </p:sp>
      <p:pic>
        <p:nvPicPr>
          <p:cNvPr id="10" name="Picture 9">
            <a:extLst>
              <a:ext uri="{FF2B5EF4-FFF2-40B4-BE49-F238E27FC236}">
                <a16:creationId xmlns:a16="http://schemas.microsoft.com/office/drawing/2014/main" id="{C2090546-8A1D-EDB1-ED9B-17E33ACF1ABA}"/>
              </a:ext>
            </a:extLst>
          </p:cNvPr>
          <p:cNvPicPr>
            <a:picLocks noChangeAspect="1"/>
          </p:cNvPicPr>
          <p:nvPr/>
        </p:nvPicPr>
        <p:blipFill>
          <a:blip r:embed="rId3"/>
          <a:stretch>
            <a:fillRect/>
          </a:stretch>
        </p:blipFill>
        <p:spPr>
          <a:xfrm>
            <a:off x="470027" y="816371"/>
            <a:ext cx="2763713" cy="3842947"/>
          </a:xfrm>
          <a:prstGeom prst="rect">
            <a:avLst/>
          </a:prstGeom>
          <a:ln>
            <a:solidFill>
              <a:schemeClr val="accent1"/>
            </a:solidFill>
          </a:ln>
        </p:spPr>
      </p:pic>
      <p:pic>
        <p:nvPicPr>
          <p:cNvPr id="12" name="Picture 11" descr="A screenshot of a computer program&#10;&#10;Description automatically generated">
            <a:extLst>
              <a:ext uri="{FF2B5EF4-FFF2-40B4-BE49-F238E27FC236}">
                <a16:creationId xmlns:a16="http://schemas.microsoft.com/office/drawing/2014/main" id="{4DC90876-1A9F-8549-3160-5D989567D832}"/>
              </a:ext>
            </a:extLst>
          </p:cNvPr>
          <p:cNvPicPr>
            <a:picLocks noChangeAspect="1"/>
          </p:cNvPicPr>
          <p:nvPr/>
        </p:nvPicPr>
        <p:blipFill>
          <a:blip r:embed="rId4"/>
          <a:stretch>
            <a:fillRect/>
          </a:stretch>
        </p:blipFill>
        <p:spPr>
          <a:xfrm>
            <a:off x="4372542" y="815981"/>
            <a:ext cx="3843337" cy="3843337"/>
          </a:xfrm>
          <a:prstGeom prst="rect">
            <a:avLst/>
          </a:prstGeom>
          <a:ln>
            <a:solidFill>
              <a:schemeClr val="accent1"/>
            </a:solidFill>
          </a:ln>
        </p:spPr>
      </p:pic>
    </p:spTree>
    <p:extLst>
      <p:ext uri="{BB962C8B-B14F-4D97-AF65-F5344CB8AC3E}">
        <p14:creationId xmlns:p14="http://schemas.microsoft.com/office/powerpoint/2010/main" val="2923309135"/>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zure DevOps Build Pipeline Paramet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14</a:t>
            </a:fld>
            <a:endParaRPr lang="en-US" dirty="0"/>
          </a:p>
        </p:txBody>
      </p:sp>
      <p:sp>
        <p:nvSpPr>
          <p:cNvPr id="2" name="Fußzeilenplatzhalter 1">
            <a:extLst>
              <a:ext uri="{FF2B5EF4-FFF2-40B4-BE49-F238E27FC236}">
                <a16:creationId xmlns:a16="http://schemas.microsoft.com/office/drawing/2014/main" id="{CF40BF5C-03B7-465A-97C6-DD3B9D4DBEC7}"/>
              </a:ext>
            </a:extLst>
          </p:cNvPr>
          <p:cNvSpPr>
            <a:spLocks noGrp="1"/>
          </p:cNvSpPr>
          <p:nvPr>
            <p:ph type="ftr" sz="quarter" idx="3"/>
          </p:nvPr>
        </p:nvSpPr>
        <p:spPr/>
        <p:txBody>
          <a:bodyPr/>
          <a:lstStyle/>
          <a:p>
            <a:r>
              <a:rPr lang="en-US" dirty="0"/>
              <a:t>© 2024 Software AG. All rights reserved. For internal use only and for Software AG Partners.</a:t>
            </a:r>
          </a:p>
        </p:txBody>
      </p:sp>
      <p:sp>
        <p:nvSpPr>
          <p:cNvPr id="3" name="TextBox 2">
            <a:extLst>
              <a:ext uri="{FF2B5EF4-FFF2-40B4-BE49-F238E27FC236}">
                <a16:creationId xmlns:a16="http://schemas.microsoft.com/office/drawing/2014/main" id="{A3954A73-08AD-4E7D-6D6A-00D7F13F2F95}"/>
              </a:ext>
            </a:extLst>
          </p:cNvPr>
          <p:cNvSpPr txBox="1"/>
          <p:nvPr>
            <p:custDataLst>
              <p:tags r:id="rId1"/>
            </p:custDataLst>
          </p:nvPr>
        </p:nvSpPr>
        <p:spPr>
          <a:xfrm>
            <a:off x="217613" y="813004"/>
            <a:ext cx="1528330" cy="240609"/>
          </a:xfrm>
          <a:prstGeom prst="rect">
            <a:avLst/>
          </a:prstGeom>
          <a:ln w="6350">
            <a:noFill/>
          </a:ln>
        </p:spPr>
        <p:txBody>
          <a:bodyPr vert="horz" wrap="square" lIns="0" tIns="0" rIns="0" bIns="0" rtlCol="0">
            <a:noAutofit/>
          </a:bodyPr>
          <a:lstStyle/>
          <a:p>
            <a:pPr algn="l"/>
            <a:r>
              <a:rPr lang="en-US" u="sng" dirty="0"/>
              <a:t>API deployment</a:t>
            </a:r>
          </a:p>
        </p:txBody>
      </p:sp>
      <p:sp>
        <p:nvSpPr>
          <p:cNvPr id="5" name="TextBox 4">
            <a:extLst>
              <a:ext uri="{FF2B5EF4-FFF2-40B4-BE49-F238E27FC236}">
                <a16:creationId xmlns:a16="http://schemas.microsoft.com/office/drawing/2014/main" id="{2D17D040-BEFB-AE32-233E-F19935ACC233}"/>
              </a:ext>
            </a:extLst>
          </p:cNvPr>
          <p:cNvSpPr txBox="1"/>
          <p:nvPr>
            <p:custDataLst>
              <p:tags r:id="rId2"/>
            </p:custDataLst>
          </p:nvPr>
        </p:nvSpPr>
        <p:spPr>
          <a:xfrm>
            <a:off x="2470565" y="813004"/>
            <a:ext cx="2067024" cy="240609"/>
          </a:xfrm>
          <a:prstGeom prst="rect">
            <a:avLst/>
          </a:prstGeom>
          <a:ln w="6350">
            <a:noFill/>
          </a:ln>
        </p:spPr>
        <p:txBody>
          <a:bodyPr vert="horz" wrap="square" lIns="0" tIns="0" rIns="0" bIns="0" rtlCol="0">
            <a:noAutofit/>
          </a:bodyPr>
          <a:lstStyle/>
          <a:p>
            <a:pPr algn="l"/>
            <a:r>
              <a:rPr lang="en-US" u="sng" dirty="0"/>
              <a:t>API Gateway configuration</a:t>
            </a:r>
          </a:p>
        </p:txBody>
      </p:sp>
      <p:pic>
        <p:nvPicPr>
          <p:cNvPr id="7" name="Picture 6">
            <a:extLst>
              <a:ext uri="{FF2B5EF4-FFF2-40B4-BE49-F238E27FC236}">
                <a16:creationId xmlns:a16="http://schemas.microsoft.com/office/drawing/2014/main" id="{DFDE148C-F974-F0DC-4E9F-B0AF70E3C771}"/>
              </a:ext>
            </a:extLst>
          </p:cNvPr>
          <p:cNvPicPr>
            <a:picLocks noChangeAspect="1"/>
          </p:cNvPicPr>
          <p:nvPr/>
        </p:nvPicPr>
        <p:blipFill rotWithShape="1">
          <a:blip r:embed="rId7"/>
          <a:srcRect r="786"/>
          <a:stretch/>
        </p:blipFill>
        <p:spPr>
          <a:xfrm>
            <a:off x="217612" y="1080498"/>
            <a:ext cx="1924050" cy="1626870"/>
          </a:xfrm>
          <a:prstGeom prst="rect">
            <a:avLst/>
          </a:prstGeom>
          <a:ln>
            <a:solidFill>
              <a:schemeClr val="accent1"/>
            </a:solidFill>
          </a:ln>
        </p:spPr>
      </p:pic>
      <p:pic>
        <p:nvPicPr>
          <p:cNvPr id="11" name="Picture 10">
            <a:extLst>
              <a:ext uri="{FF2B5EF4-FFF2-40B4-BE49-F238E27FC236}">
                <a16:creationId xmlns:a16="http://schemas.microsoft.com/office/drawing/2014/main" id="{6A2CC267-F4A0-F98E-F96A-F7673211CD36}"/>
              </a:ext>
            </a:extLst>
          </p:cNvPr>
          <p:cNvPicPr>
            <a:picLocks noChangeAspect="1"/>
          </p:cNvPicPr>
          <p:nvPr/>
        </p:nvPicPr>
        <p:blipFill>
          <a:blip r:embed="rId8"/>
          <a:stretch>
            <a:fillRect/>
          </a:stretch>
        </p:blipFill>
        <p:spPr>
          <a:xfrm>
            <a:off x="217612" y="2800230"/>
            <a:ext cx="1924050" cy="1451610"/>
          </a:xfrm>
          <a:prstGeom prst="rect">
            <a:avLst/>
          </a:prstGeom>
          <a:ln>
            <a:solidFill>
              <a:schemeClr val="accent1"/>
            </a:solidFill>
          </a:ln>
        </p:spPr>
      </p:pic>
      <p:pic>
        <p:nvPicPr>
          <p:cNvPr id="14" name="Picture 13">
            <a:extLst>
              <a:ext uri="{FF2B5EF4-FFF2-40B4-BE49-F238E27FC236}">
                <a16:creationId xmlns:a16="http://schemas.microsoft.com/office/drawing/2014/main" id="{ACD56346-1382-6622-F35C-62058F1FDB6C}"/>
              </a:ext>
            </a:extLst>
          </p:cNvPr>
          <p:cNvPicPr>
            <a:picLocks noChangeAspect="1"/>
          </p:cNvPicPr>
          <p:nvPr/>
        </p:nvPicPr>
        <p:blipFill>
          <a:blip r:embed="rId9"/>
          <a:stretch>
            <a:fillRect/>
          </a:stretch>
        </p:blipFill>
        <p:spPr>
          <a:xfrm>
            <a:off x="2470564" y="1080498"/>
            <a:ext cx="1946910" cy="1466850"/>
          </a:xfrm>
          <a:prstGeom prst="rect">
            <a:avLst/>
          </a:prstGeom>
          <a:ln>
            <a:solidFill>
              <a:schemeClr val="accent1"/>
            </a:solidFill>
          </a:ln>
        </p:spPr>
      </p:pic>
      <p:sp>
        <p:nvSpPr>
          <p:cNvPr id="15" name="TextBox 14">
            <a:extLst>
              <a:ext uri="{FF2B5EF4-FFF2-40B4-BE49-F238E27FC236}">
                <a16:creationId xmlns:a16="http://schemas.microsoft.com/office/drawing/2014/main" id="{E4809C5D-1687-F4B1-BA13-F454DAC329DE}"/>
              </a:ext>
            </a:extLst>
          </p:cNvPr>
          <p:cNvSpPr txBox="1"/>
          <p:nvPr>
            <p:custDataLst>
              <p:tags r:id="rId3"/>
            </p:custDataLst>
          </p:nvPr>
        </p:nvSpPr>
        <p:spPr>
          <a:xfrm>
            <a:off x="4739739" y="813004"/>
            <a:ext cx="1528330" cy="240609"/>
          </a:xfrm>
          <a:prstGeom prst="rect">
            <a:avLst/>
          </a:prstGeom>
          <a:ln w="6350">
            <a:noFill/>
          </a:ln>
        </p:spPr>
        <p:txBody>
          <a:bodyPr vert="horz" wrap="square" lIns="0" tIns="0" rIns="0" bIns="0" rtlCol="0">
            <a:noAutofit/>
          </a:bodyPr>
          <a:lstStyle/>
          <a:p>
            <a:pPr algn="l"/>
            <a:r>
              <a:rPr lang="en-US" u="sng" dirty="0"/>
              <a:t>API export</a:t>
            </a:r>
          </a:p>
        </p:txBody>
      </p:sp>
      <p:pic>
        <p:nvPicPr>
          <p:cNvPr id="17" name="Picture 16">
            <a:extLst>
              <a:ext uri="{FF2B5EF4-FFF2-40B4-BE49-F238E27FC236}">
                <a16:creationId xmlns:a16="http://schemas.microsoft.com/office/drawing/2014/main" id="{04018FE7-D952-D6B6-FE81-0F8B77850DB2}"/>
              </a:ext>
            </a:extLst>
          </p:cNvPr>
          <p:cNvPicPr>
            <a:picLocks noChangeAspect="1"/>
          </p:cNvPicPr>
          <p:nvPr/>
        </p:nvPicPr>
        <p:blipFill>
          <a:blip r:embed="rId10"/>
          <a:stretch>
            <a:fillRect/>
          </a:stretch>
        </p:blipFill>
        <p:spPr>
          <a:xfrm>
            <a:off x="4739739" y="1084308"/>
            <a:ext cx="1901190" cy="1623060"/>
          </a:xfrm>
          <a:prstGeom prst="rect">
            <a:avLst/>
          </a:prstGeom>
          <a:ln>
            <a:solidFill>
              <a:schemeClr val="accent1"/>
            </a:solidFill>
          </a:ln>
        </p:spPr>
      </p:pic>
      <p:sp>
        <p:nvSpPr>
          <p:cNvPr id="18" name="TextBox 17">
            <a:extLst>
              <a:ext uri="{FF2B5EF4-FFF2-40B4-BE49-F238E27FC236}">
                <a16:creationId xmlns:a16="http://schemas.microsoft.com/office/drawing/2014/main" id="{0816D134-FA9A-6804-DBB5-2CAB492BDC84}"/>
              </a:ext>
            </a:extLst>
          </p:cNvPr>
          <p:cNvSpPr txBox="1"/>
          <p:nvPr>
            <p:custDataLst>
              <p:tags r:id="rId4"/>
            </p:custDataLst>
          </p:nvPr>
        </p:nvSpPr>
        <p:spPr>
          <a:xfrm>
            <a:off x="6982859" y="813004"/>
            <a:ext cx="1528330" cy="240609"/>
          </a:xfrm>
          <a:prstGeom prst="rect">
            <a:avLst/>
          </a:prstGeom>
          <a:ln w="6350">
            <a:noFill/>
          </a:ln>
        </p:spPr>
        <p:txBody>
          <a:bodyPr vert="horz" wrap="square" lIns="0" tIns="0" rIns="0" bIns="0" rtlCol="0">
            <a:noAutofit/>
          </a:bodyPr>
          <a:lstStyle/>
          <a:p>
            <a:pPr algn="l"/>
            <a:r>
              <a:rPr lang="en-US" u="sng" dirty="0"/>
              <a:t>API </a:t>
            </a:r>
            <a:r>
              <a:rPr lang="en-US" u="sng" dirty="0" err="1"/>
              <a:t>Gw</a:t>
            </a:r>
            <a:r>
              <a:rPr lang="en-US" u="sng" dirty="0"/>
              <a:t> config export</a:t>
            </a:r>
          </a:p>
        </p:txBody>
      </p:sp>
      <p:pic>
        <p:nvPicPr>
          <p:cNvPr id="20" name="Picture 19">
            <a:extLst>
              <a:ext uri="{FF2B5EF4-FFF2-40B4-BE49-F238E27FC236}">
                <a16:creationId xmlns:a16="http://schemas.microsoft.com/office/drawing/2014/main" id="{89E17EBA-BBAD-0480-2E10-3C27BDEA3AE8}"/>
              </a:ext>
            </a:extLst>
          </p:cNvPr>
          <p:cNvPicPr>
            <a:picLocks noChangeAspect="1"/>
          </p:cNvPicPr>
          <p:nvPr/>
        </p:nvPicPr>
        <p:blipFill>
          <a:blip r:embed="rId11"/>
          <a:stretch>
            <a:fillRect/>
          </a:stretch>
        </p:blipFill>
        <p:spPr>
          <a:xfrm>
            <a:off x="6982859" y="1080498"/>
            <a:ext cx="1889760" cy="1607820"/>
          </a:xfrm>
          <a:prstGeom prst="rect">
            <a:avLst/>
          </a:prstGeom>
          <a:ln>
            <a:solidFill>
              <a:schemeClr val="accent1"/>
            </a:solidFill>
          </a:ln>
        </p:spPr>
      </p:pic>
      <p:pic>
        <p:nvPicPr>
          <p:cNvPr id="22" name="Picture 21">
            <a:extLst>
              <a:ext uri="{FF2B5EF4-FFF2-40B4-BE49-F238E27FC236}">
                <a16:creationId xmlns:a16="http://schemas.microsoft.com/office/drawing/2014/main" id="{19592FF0-12FA-4E17-2EB5-8314311775E9}"/>
              </a:ext>
            </a:extLst>
          </p:cNvPr>
          <p:cNvPicPr>
            <a:picLocks noChangeAspect="1"/>
          </p:cNvPicPr>
          <p:nvPr/>
        </p:nvPicPr>
        <p:blipFill rotWithShape="1">
          <a:blip r:embed="rId12"/>
          <a:srcRect r="2156"/>
          <a:stretch/>
        </p:blipFill>
        <p:spPr>
          <a:xfrm>
            <a:off x="4739739" y="2809261"/>
            <a:ext cx="1901190" cy="281940"/>
          </a:xfrm>
          <a:prstGeom prst="rect">
            <a:avLst/>
          </a:prstGeom>
          <a:ln>
            <a:solidFill>
              <a:schemeClr val="accent1"/>
            </a:solidFill>
          </a:ln>
        </p:spPr>
      </p:pic>
      <p:pic>
        <p:nvPicPr>
          <p:cNvPr id="23" name="Picture 22">
            <a:extLst>
              <a:ext uri="{FF2B5EF4-FFF2-40B4-BE49-F238E27FC236}">
                <a16:creationId xmlns:a16="http://schemas.microsoft.com/office/drawing/2014/main" id="{51685D6D-5B15-A587-AA83-199158D81866}"/>
              </a:ext>
            </a:extLst>
          </p:cNvPr>
          <p:cNvPicPr>
            <a:picLocks noChangeAspect="1"/>
          </p:cNvPicPr>
          <p:nvPr/>
        </p:nvPicPr>
        <p:blipFill rotWithShape="1">
          <a:blip r:embed="rId12"/>
          <a:srcRect r="2745"/>
          <a:stretch/>
        </p:blipFill>
        <p:spPr>
          <a:xfrm>
            <a:off x="6982859" y="2784681"/>
            <a:ext cx="1889760" cy="281940"/>
          </a:xfrm>
          <a:prstGeom prst="rect">
            <a:avLst/>
          </a:prstGeom>
          <a:ln>
            <a:solidFill>
              <a:schemeClr val="accent1"/>
            </a:solidFill>
          </a:ln>
        </p:spPr>
      </p:pic>
    </p:spTree>
    <p:extLst>
      <p:ext uri="{BB962C8B-B14F-4D97-AF65-F5344CB8AC3E}">
        <p14:creationId xmlns:p14="http://schemas.microsoft.com/office/powerpoint/2010/main" val="94315961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PI Project Deployment Pipelines with Multiple Stages</a:t>
            </a:r>
          </a:p>
        </p:txBody>
      </p:sp>
      <p:sp>
        <p:nvSpPr>
          <p:cNvPr id="2" name="Fußzeilenplatzhalter 1">
            <a:extLst>
              <a:ext uri="{FF2B5EF4-FFF2-40B4-BE49-F238E27FC236}">
                <a16:creationId xmlns:a16="http://schemas.microsoft.com/office/drawing/2014/main" id="{CF40BF5C-03B7-465A-97C6-DD3B9D4DBEC7}"/>
              </a:ext>
            </a:extLst>
          </p:cNvPr>
          <p:cNvSpPr>
            <a:spLocks noGrp="1"/>
          </p:cNvSpPr>
          <p:nvPr>
            <p:ph type="ftr" sz="quarter" idx="3"/>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15</a:t>
            </a:fld>
            <a:endParaRPr lang="en-US" dirty="0"/>
          </a:p>
        </p:txBody>
      </p:sp>
      <p:sp>
        <p:nvSpPr>
          <p:cNvPr id="11" name="Textplatzhalter 7">
            <a:extLst>
              <a:ext uri="{FF2B5EF4-FFF2-40B4-BE49-F238E27FC236}">
                <a16:creationId xmlns:a16="http://schemas.microsoft.com/office/drawing/2014/main" id="{9CFA0D73-A745-8968-4F36-FD7AC39884C5}"/>
              </a:ext>
            </a:extLst>
          </p:cNvPr>
          <p:cNvSpPr txBox="1">
            <a:spLocks/>
          </p:cNvSpPr>
          <p:nvPr/>
        </p:nvSpPr>
        <p:spPr>
          <a:xfrm>
            <a:off x="215900" y="628595"/>
            <a:ext cx="8712000" cy="198259"/>
          </a:xfrm>
          <a:prstGeom prst="rect">
            <a:avLst/>
          </a:prstGeom>
        </p:spPr>
        <p:txBody>
          <a:bodyPr vert="horz" lIns="0" tIns="0" rIns="0" bIns="0" rtlCol="0">
            <a:noAutofit/>
          </a:bodyPr>
          <a:lstStyle>
            <a:lvl1pPr>
              <a:defRPr>
                <a:solidFill>
                  <a:schemeClr val="accent1"/>
                </a:solidFill>
              </a:defRPr>
            </a:lvl1pPr>
            <a:lvl2pPr marL="169200" indent="-180000" algn="l" defTabSz="685800" rtl="0" eaLnBrk="1" latinLnBrk="0" hangingPunct="1">
              <a:lnSpc>
                <a:spcPct val="100000"/>
              </a:lnSpc>
              <a:spcBef>
                <a:spcPts val="432"/>
              </a:spcBef>
              <a:buClr>
                <a:schemeClr val="tx2"/>
              </a:buClr>
              <a:buFont typeface="Arial" panose="020B0604020202020204" pitchFamily="34" charset="0"/>
              <a:buChar char="•"/>
              <a:defRPr sz="1400" kern="1200">
                <a:solidFill>
                  <a:schemeClr val="tx2"/>
                </a:solidFill>
                <a:latin typeface="+mn-lt"/>
                <a:ea typeface="+mn-ea"/>
                <a:cs typeface="+mn-cs"/>
              </a:defRPr>
            </a:lvl2pPr>
            <a:lvl3pPr marL="360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3pPr>
            <a:lvl4pPr marL="684000" indent="-180000" algn="l" defTabSz="685800" rtl="0" eaLnBrk="1" latinLnBrk="0" hangingPunct="1">
              <a:lnSpc>
                <a:spcPct val="100000"/>
              </a:lnSpc>
              <a:spcBef>
                <a:spcPts val="400"/>
              </a:spcBef>
              <a:buClr>
                <a:schemeClr val="tx2"/>
              </a:buClr>
              <a:buFont typeface="Arial" panose="020B0604020202020204" pitchFamily="34" charset="0"/>
              <a:buChar char="•"/>
              <a:defRPr sz="1200" kern="1200">
                <a:solidFill>
                  <a:schemeClr val="tx2"/>
                </a:solidFill>
                <a:latin typeface="+mn-lt"/>
                <a:ea typeface="+mn-ea"/>
                <a:cs typeface="+mn-cs"/>
              </a:defRPr>
            </a:lvl4pPr>
            <a:lvl5pPr marL="972000" indent="-180000" algn="l" defTabSz="685800" rtl="0" eaLnBrk="1" latinLnBrk="0" hangingPunct="1">
              <a:lnSpc>
                <a:spcPct val="100000"/>
              </a:lnSpc>
              <a:spcBef>
                <a:spcPts val="300"/>
              </a:spcBef>
              <a:buClr>
                <a:schemeClr val="tx2"/>
              </a:buClr>
              <a:buFont typeface="Arial" panose="020B0604020202020204" pitchFamily="34" charset="0"/>
              <a:buChar char="–"/>
              <a:defRPr sz="1000" kern="1200">
                <a:solidFill>
                  <a:schemeClr val="tx2"/>
                </a:solidFill>
                <a:latin typeface="+mn-lt"/>
                <a:ea typeface="+mn-ea"/>
                <a:cs typeface="+mn-cs"/>
              </a:defRPr>
            </a:lvl5pPr>
            <a:lvl6pPr marL="1885950" indent="-171450">
              <a:lnSpc>
                <a:spcPct val="90000"/>
              </a:lnSpc>
              <a:spcBef>
                <a:spcPts val="375"/>
              </a:spcBef>
              <a:buFont typeface="Arial" panose="020B0604020202020204" pitchFamily="34" charset="0"/>
              <a:buChar char="•"/>
              <a:defRPr>
                <a:solidFill>
                  <a:schemeClr val="tx1"/>
                </a:solidFill>
              </a:defRP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r>
              <a:rPr lang="en-US" dirty="0"/>
              <a:t>Build results are organized by stages</a:t>
            </a:r>
            <a:endParaRPr lang="en-DE" dirty="0"/>
          </a:p>
        </p:txBody>
      </p:sp>
      <p:pic>
        <p:nvPicPr>
          <p:cNvPr id="5" name="Picture 4">
            <a:extLst>
              <a:ext uri="{FF2B5EF4-FFF2-40B4-BE49-F238E27FC236}">
                <a16:creationId xmlns:a16="http://schemas.microsoft.com/office/drawing/2014/main" id="{9B568295-842E-8AD9-8A7D-9261DE933A1D}"/>
              </a:ext>
            </a:extLst>
          </p:cNvPr>
          <p:cNvPicPr>
            <a:picLocks noChangeAspect="1"/>
          </p:cNvPicPr>
          <p:nvPr/>
        </p:nvPicPr>
        <p:blipFill>
          <a:blip r:embed="rId3"/>
          <a:stretch>
            <a:fillRect/>
          </a:stretch>
        </p:blipFill>
        <p:spPr>
          <a:xfrm>
            <a:off x="560232" y="925018"/>
            <a:ext cx="7732207" cy="3683993"/>
          </a:xfrm>
          <a:prstGeom prst="rect">
            <a:avLst/>
          </a:prstGeom>
          <a:ln>
            <a:solidFill>
              <a:schemeClr val="accent1"/>
            </a:solidFill>
          </a:ln>
        </p:spPr>
      </p:pic>
    </p:spTree>
    <p:extLst>
      <p:ext uri="{BB962C8B-B14F-4D97-AF65-F5344CB8AC3E}">
        <p14:creationId xmlns:p14="http://schemas.microsoft.com/office/powerpoint/2010/main" val="2323179552"/>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zure DevOps Supports Drill-down to Analyze Deployment Failures</a:t>
            </a:r>
          </a:p>
        </p:txBody>
      </p:sp>
      <p:sp>
        <p:nvSpPr>
          <p:cNvPr id="2" name="Fußzeilenplatzhalter 1">
            <a:extLst>
              <a:ext uri="{FF2B5EF4-FFF2-40B4-BE49-F238E27FC236}">
                <a16:creationId xmlns:a16="http://schemas.microsoft.com/office/drawing/2014/main" id="{CF40BF5C-03B7-465A-97C6-DD3B9D4DBEC7}"/>
              </a:ext>
            </a:extLst>
          </p:cNvPr>
          <p:cNvSpPr>
            <a:spLocks noGrp="1"/>
          </p:cNvSpPr>
          <p:nvPr>
            <p:ph type="ftr" sz="quarter" idx="3"/>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16</a:t>
            </a:fld>
            <a:endParaRPr lang="en-US" dirty="0"/>
          </a:p>
        </p:txBody>
      </p:sp>
      <p:pic>
        <p:nvPicPr>
          <p:cNvPr id="5" name="Picture 4">
            <a:extLst>
              <a:ext uri="{FF2B5EF4-FFF2-40B4-BE49-F238E27FC236}">
                <a16:creationId xmlns:a16="http://schemas.microsoft.com/office/drawing/2014/main" id="{9B568295-842E-8AD9-8A7D-9261DE933A1D}"/>
              </a:ext>
            </a:extLst>
          </p:cNvPr>
          <p:cNvPicPr>
            <a:picLocks noChangeAspect="1"/>
          </p:cNvPicPr>
          <p:nvPr/>
        </p:nvPicPr>
        <p:blipFill>
          <a:blip r:embed="rId3"/>
          <a:srcRect/>
          <a:stretch/>
        </p:blipFill>
        <p:spPr>
          <a:xfrm>
            <a:off x="325262" y="1092499"/>
            <a:ext cx="3645003" cy="857909"/>
          </a:xfrm>
          <a:prstGeom prst="rect">
            <a:avLst/>
          </a:prstGeom>
          <a:ln>
            <a:solidFill>
              <a:schemeClr val="accent1"/>
            </a:solidFill>
          </a:ln>
        </p:spPr>
      </p:pic>
      <p:pic>
        <p:nvPicPr>
          <p:cNvPr id="3" name="Picture 2">
            <a:extLst>
              <a:ext uri="{FF2B5EF4-FFF2-40B4-BE49-F238E27FC236}">
                <a16:creationId xmlns:a16="http://schemas.microsoft.com/office/drawing/2014/main" id="{0AFA2491-369D-A9A3-9798-C171D3EA1409}"/>
              </a:ext>
            </a:extLst>
          </p:cNvPr>
          <p:cNvPicPr>
            <a:picLocks noChangeAspect="1"/>
          </p:cNvPicPr>
          <p:nvPr/>
        </p:nvPicPr>
        <p:blipFill>
          <a:blip r:embed="rId4"/>
          <a:srcRect/>
          <a:stretch/>
        </p:blipFill>
        <p:spPr>
          <a:xfrm>
            <a:off x="1246342" y="1285304"/>
            <a:ext cx="2786009" cy="2868829"/>
          </a:xfrm>
          <a:prstGeom prst="rect">
            <a:avLst/>
          </a:prstGeom>
          <a:ln>
            <a:solidFill>
              <a:schemeClr val="accent1"/>
            </a:solidFill>
          </a:ln>
        </p:spPr>
      </p:pic>
      <p:pic>
        <p:nvPicPr>
          <p:cNvPr id="6" name="Picture 5">
            <a:extLst>
              <a:ext uri="{FF2B5EF4-FFF2-40B4-BE49-F238E27FC236}">
                <a16:creationId xmlns:a16="http://schemas.microsoft.com/office/drawing/2014/main" id="{62934EEB-46D4-8DE7-22F3-790684EFE116}"/>
              </a:ext>
            </a:extLst>
          </p:cNvPr>
          <p:cNvPicPr>
            <a:picLocks noChangeAspect="1"/>
          </p:cNvPicPr>
          <p:nvPr/>
        </p:nvPicPr>
        <p:blipFill>
          <a:blip r:embed="rId5"/>
          <a:srcRect/>
          <a:stretch/>
        </p:blipFill>
        <p:spPr>
          <a:xfrm>
            <a:off x="2817254" y="579807"/>
            <a:ext cx="3010789" cy="4238787"/>
          </a:xfrm>
          <a:prstGeom prst="rect">
            <a:avLst/>
          </a:prstGeom>
          <a:ln>
            <a:solidFill>
              <a:schemeClr val="accent1"/>
            </a:solidFill>
          </a:ln>
        </p:spPr>
      </p:pic>
      <p:pic>
        <p:nvPicPr>
          <p:cNvPr id="7" name="Picture 6">
            <a:extLst>
              <a:ext uri="{FF2B5EF4-FFF2-40B4-BE49-F238E27FC236}">
                <a16:creationId xmlns:a16="http://schemas.microsoft.com/office/drawing/2014/main" id="{26FAD51A-C3AE-8A49-29CB-45571CB62E29}"/>
              </a:ext>
            </a:extLst>
          </p:cNvPr>
          <p:cNvPicPr>
            <a:picLocks noChangeAspect="1"/>
          </p:cNvPicPr>
          <p:nvPr/>
        </p:nvPicPr>
        <p:blipFill>
          <a:blip r:embed="rId6"/>
          <a:srcRect/>
          <a:stretch/>
        </p:blipFill>
        <p:spPr>
          <a:xfrm>
            <a:off x="4526782" y="973853"/>
            <a:ext cx="3793253" cy="3589840"/>
          </a:xfrm>
          <a:prstGeom prst="rect">
            <a:avLst/>
          </a:prstGeom>
          <a:ln>
            <a:solidFill>
              <a:schemeClr val="accent1"/>
            </a:solidFill>
          </a:ln>
        </p:spPr>
      </p:pic>
    </p:spTree>
    <p:extLst>
      <p:ext uri="{BB962C8B-B14F-4D97-AF65-F5344CB8AC3E}">
        <p14:creationId xmlns:p14="http://schemas.microsoft.com/office/powerpoint/2010/main" val="9701219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Major Steps are Defined as Postman Collections</a:t>
            </a:r>
          </a:p>
        </p:txBody>
      </p:sp>
      <p:sp>
        <p:nvSpPr>
          <p:cNvPr id="2" name="Fußzeilenplatzhalter 1">
            <a:extLst>
              <a:ext uri="{FF2B5EF4-FFF2-40B4-BE49-F238E27FC236}">
                <a16:creationId xmlns:a16="http://schemas.microsoft.com/office/drawing/2014/main" id="{77E0499E-1B3B-40DC-96C0-D6D083B16595}"/>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17</a:t>
            </a:fld>
            <a:endParaRPr lang="en-US" dirty="0"/>
          </a:p>
        </p:txBody>
      </p:sp>
      <p:sp>
        <p:nvSpPr>
          <p:cNvPr id="8" name="Textplatzhalter 7">
            <a:extLst>
              <a:ext uri="{FF2B5EF4-FFF2-40B4-BE49-F238E27FC236}">
                <a16:creationId xmlns:a16="http://schemas.microsoft.com/office/drawing/2014/main" id="{E59AA303-776F-4DC4-B366-4B175DB8906E}"/>
              </a:ext>
            </a:extLst>
          </p:cNvPr>
          <p:cNvSpPr>
            <a:spLocks noGrp="1"/>
          </p:cNvSpPr>
          <p:nvPr>
            <p:ph type="body" sz="quarter" idx="13"/>
          </p:nvPr>
        </p:nvSpPr>
        <p:spPr/>
        <p:txBody>
          <a:bodyPr/>
          <a:lstStyle/>
          <a:p>
            <a:r>
              <a:rPr lang="en-US" dirty="0"/>
              <a:t>Executed using Newman</a:t>
            </a:r>
          </a:p>
          <a:p>
            <a:endParaRPr lang="en-DE" dirty="0"/>
          </a:p>
        </p:txBody>
      </p:sp>
      <p:pic>
        <p:nvPicPr>
          <p:cNvPr id="5" name="Picture 4">
            <a:extLst>
              <a:ext uri="{FF2B5EF4-FFF2-40B4-BE49-F238E27FC236}">
                <a16:creationId xmlns:a16="http://schemas.microsoft.com/office/drawing/2014/main" id="{965B377E-E42C-F9C6-DDA6-C369C554F365}"/>
              </a:ext>
            </a:extLst>
          </p:cNvPr>
          <p:cNvPicPr>
            <a:picLocks noChangeAspect="1"/>
          </p:cNvPicPr>
          <p:nvPr/>
        </p:nvPicPr>
        <p:blipFill>
          <a:blip r:embed="rId3"/>
          <a:stretch>
            <a:fillRect/>
          </a:stretch>
        </p:blipFill>
        <p:spPr>
          <a:xfrm>
            <a:off x="215899" y="1166813"/>
            <a:ext cx="2068830" cy="3520440"/>
          </a:xfrm>
          <a:prstGeom prst="rect">
            <a:avLst/>
          </a:prstGeom>
          <a:ln>
            <a:solidFill>
              <a:schemeClr val="accent1"/>
            </a:solidFill>
          </a:ln>
        </p:spPr>
      </p:pic>
      <p:pic>
        <p:nvPicPr>
          <p:cNvPr id="7" name="Picture 6">
            <a:extLst>
              <a:ext uri="{FF2B5EF4-FFF2-40B4-BE49-F238E27FC236}">
                <a16:creationId xmlns:a16="http://schemas.microsoft.com/office/drawing/2014/main" id="{0CB99D42-FB01-6BCE-D591-3785405BA2EF}"/>
              </a:ext>
            </a:extLst>
          </p:cNvPr>
          <p:cNvPicPr>
            <a:picLocks noChangeAspect="1"/>
          </p:cNvPicPr>
          <p:nvPr/>
        </p:nvPicPr>
        <p:blipFill>
          <a:blip r:embed="rId4"/>
          <a:stretch>
            <a:fillRect/>
          </a:stretch>
        </p:blipFill>
        <p:spPr>
          <a:xfrm>
            <a:off x="2918988" y="1166812"/>
            <a:ext cx="1674495" cy="3200400"/>
          </a:xfrm>
          <a:prstGeom prst="rect">
            <a:avLst/>
          </a:prstGeom>
          <a:ln>
            <a:solidFill>
              <a:schemeClr val="accent1"/>
            </a:solidFill>
          </a:ln>
        </p:spPr>
      </p:pic>
      <p:pic>
        <p:nvPicPr>
          <p:cNvPr id="11" name="Picture 10">
            <a:extLst>
              <a:ext uri="{FF2B5EF4-FFF2-40B4-BE49-F238E27FC236}">
                <a16:creationId xmlns:a16="http://schemas.microsoft.com/office/drawing/2014/main" id="{4802967C-1047-E40C-9E63-85CBD2FACE6F}"/>
              </a:ext>
            </a:extLst>
          </p:cNvPr>
          <p:cNvPicPr>
            <a:picLocks noChangeAspect="1"/>
          </p:cNvPicPr>
          <p:nvPr/>
        </p:nvPicPr>
        <p:blipFill>
          <a:blip r:embed="rId5"/>
          <a:stretch>
            <a:fillRect/>
          </a:stretch>
        </p:blipFill>
        <p:spPr>
          <a:xfrm>
            <a:off x="5227742" y="1166811"/>
            <a:ext cx="1594485" cy="3669030"/>
          </a:xfrm>
          <a:prstGeom prst="rect">
            <a:avLst/>
          </a:prstGeom>
          <a:ln>
            <a:solidFill>
              <a:schemeClr val="accent1"/>
            </a:solidFill>
          </a:ln>
        </p:spPr>
      </p:pic>
      <p:pic>
        <p:nvPicPr>
          <p:cNvPr id="25" name="Picture 24">
            <a:extLst>
              <a:ext uri="{FF2B5EF4-FFF2-40B4-BE49-F238E27FC236}">
                <a16:creationId xmlns:a16="http://schemas.microsoft.com/office/drawing/2014/main" id="{575740B7-CC36-9B7A-D321-F5FB4E0EB574}"/>
              </a:ext>
            </a:extLst>
          </p:cNvPr>
          <p:cNvPicPr>
            <a:picLocks noChangeAspect="1"/>
          </p:cNvPicPr>
          <p:nvPr/>
        </p:nvPicPr>
        <p:blipFill>
          <a:blip r:embed="rId6"/>
          <a:stretch>
            <a:fillRect/>
          </a:stretch>
        </p:blipFill>
        <p:spPr>
          <a:xfrm>
            <a:off x="7456487" y="1166812"/>
            <a:ext cx="1471613" cy="2400300"/>
          </a:xfrm>
          <a:prstGeom prst="rect">
            <a:avLst/>
          </a:prstGeom>
          <a:ln>
            <a:solidFill>
              <a:schemeClr val="accent1"/>
            </a:solidFill>
          </a:ln>
        </p:spPr>
      </p:pic>
    </p:spTree>
    <p:extLst>
      <p:ext uri="{BB962C8B-B14F-4D97-AF65-F5344CB8AC3E}">
        <p14:creationId xmlns:p14="http://schemas.microsoft.com/office/powerpoint/2010/main" val="2264025963"/>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6BCE01E3-B4FC-4AE9-9B96-DAC36FC3BE7B}"/>
              </a:ext>
            </a:extLst>
          </p:cNvPr>
          <p:cNvPicPr>
            <a:picLocks noChangeAspect="1"/>
          </p:cNvPicPr>
          <p:nvPr/>
        </p:nvPicPr>
        <p:blipFill>
          <a:blip r:embed="rId5"/>
          <a:stretch>
            <a:fillRect/>
          </a:stretch>
        </p:blipFill>
        <p:spPr>
          <a:xfrm>
            <a:off x="6662689" y="1382643"/>
            <a:ext cx="1888755" cy="2305050"/>
          </a:xfrm>
          <a:prstGeom prst="rect">
            <a:avLst/>
          </a:prstGeom>
        </p:spPr>
      </p:pic>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Grouping of APIs and Corresponding Assets in API Projects</a:t>
            </a:r>
          </a:p>
        </p:txBody>
      </p:sp>
      <p:sp>
        <p:nvSpPr>
          <p:cNvPr id="2" name="Fußzeilenplatzhalter 1">
            <a:extLst>
              <a:ext uri="{FF2B5EF4-FFF2-40B4-BE49-F238E27FC236}">
                <a16:creationId xmlns:a16="http://schemas.microsoft.com/office/drawing/2014/main" id="{0EDE9242-CB79-48A6-BE7E-F66A59144C6B}"/>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18</a:t>
            </a:fld>
            <a:endParaRPr lang="en-US" dirty="0"/>
          </a:p>
        </p:txBody>
      </p:sp>
      <p:pic>
        <p:nvPicPr>
          <p:cNvPr id="14" name="Grafik 13">
            <a:extLst>
              <a:ext uri="{FF2B5EF4-FFF2-40B4-BE49-F238E27FC236}">
                <a16:creationId xmlns:a16="http://schemas.microsoft.com/office/drawing/2014/main" id="{015EE65F-0A30-4A0F-B211-8DA280BD70F9}"/>
              </a:ext>
            </a:extLst>
          </p:cNvPr>
          <p:cNvPicPr>
            <a:picLocks noChangeAspect="1"/>
          </p:cNvPicPr>
          <p:nvPr/>
        </p:nvPicPr>
        <p:blipFill>
          <a:blip r:embed="rId6"/>
          <a:srcRect/>
          <a:stretch/>
        </p:blipFill>
        <p:spPr>
          <a:xfrm>
            <a:off x="521613" y="1382646"/>
            <a:ext cx="2600000" cy="3266667"/>
          </a:xfrm>
          <a:prstGeom prst="rect">
            <a:avLst/>
          </a:prstGeom>
        </p:spPr>
      </p:pic>
      <p:pic>
        <p:nvPicPr>
          <p:cNvPr id="20" name="Grafik 19">
            <a:extLst>
              <a:ext uri="{FF2B5EF4-FFF2-40B4-BE49-F238E27FC236}">
                <a16:creationId xmlns:a16="http://schemas.microsoft.com/office/drawing/2014/main" id="{D775EDE9-64BE-44A1-831C-F1FD00251D38}"/>
              </a:ext>
            </a:extLst>
          </p:cNvPr>
          <p:cNvPicPr>
            <a:picLocks noChangeAspect="1"/>
          </p:cNvPicPr>
          <p:nvPr/>
        </p:nvPicPr>
        <p:blipFill rotWithShape="1">
          <a:blip r:embed="rId7"/>
          <a:srcRect t="8627"/>
          <a:stretch/>
        </p:blipFill>
        <p:spPr>
          <a:xfrm>
            <a:off x="3958701" y="1382646"/>
            <a:ext cx="1866900" cy="2097500"/>
          </a:xfrm>
          <a:prstGeom prst="rect">
            <a:avLst/>
          </a:prstGeom>
        </p:spPr>
      </p:pic>
      <p:sp>
        <p:nvSpPr>
          <p:cNvPr id="22" name="Gleichschenkliges Dreieck 21">
            <a:extLst>
              <a:ext uri="{FF2B5EF4-FFF2-40B4-BE49-F238E27FC236}">
                <a16:creationId xmlns:a16="http://schemas.microsoft.com/office/drawing/2014/main" id="{8796D8DF-8907-47C0-97BF-76FC91D0CD07}"/>
              </a:ext>
            </a:extLst>
          </p:cNvPr>
          <p:cNvSpPr/>
          <p:nvPr>
            <p:custDataLst>
              <p:tags r:id="rId1"/>
            </p:custDataLst>
          </p:nvPr>
        </p:nvSpPr>
        <p:spPr>
          <a:xfrm rot="16200000">
            <a:off x="1511627" y="1033069"/>
            <a:ext cx="2097500" cy="2796653"/>
          </a:xfrm>
          <a:prstGeom prst="triangle">
            <a:avLst>
              <a:gd name="adj" fmla="val 73978"/>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3" name="Gleichschenkliges Dreieck 22">
            <a:extLst>
              <a:ext uri="{FF2B5EF4-FFF2-40B4-BE49-F238E27FC236}">
                <a16:creationId xmlns:a16="http://schemas.microsoft.com/office/drawing/2014/main" id="{3C772711-A861-4054-A6F1-40CB61EFEE66}"/>
              </a:ext>
            </a:extLst>
          </p:cNvPr>
          <p:cNvSpPr/>
          <p:nvPr>
            <p:custDataLst>
              <p:tags r:id="rId2"/>
            </p:custDataLst>
          </p:nvPr>
        </p:nvSpPr>
        <p:spPr>
          <a:xfrm rot="16200000">
            <a:off x="4632163" y="1657165"/>
            <a:ext cx="2305047" cy="1756005"/>
          </a:xfrm>
          <a:prstGeom prst="triangle">
            <a:avLst>
              <a:gd name="adj" fmla="val 85408"/>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108214334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One Postman export_payload.json File per API Project</a:t>
            </a:r>
          </a:p>
        </p:txBody>
      </p:sp>
      <p:sp>
        <p:nvSpPr>
          <p:cNvPr id="2" name="Fußzeilenplatzhalter 1">
            <a:extLst>
              <a:ext uri="{FF2B5EF4-FFF2-40B4-BE49-F238E27FC236}">
                <a16:creationId xmlns:a16="http://schemas.microsoft.com/office/drawing/2014/main" id="{311346DD-084C-4724-BEFE-8CFED3AC4590}"/>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19</a:t>
            </a:fld>
            <a:endParaRPr lang="en-US" dirty="0"/>
          </a:p>
        </p:txBody>
      </p:sp>
      <p:sp>
        <p:nvSpPr>
          <p:cNvPr id="19" name="Untertitel 9">
            <a:extLst>
              <a:ext uri="{FF2B5EF4-FFF2-40B4-BE49-F238E27FC236}">
                <a16:creationId xmlns:a16="http://schemas.microsoft.com/office/drawing/2014/main" id="{565EBE80-467E-4222-950E-F7273E40837D}"/>
              </a:ext>
            </a:extLst>
          </p:cNvPr>
          <p:cNvSpPr>
            <a:spLocks noGrp="1"/>
          </p:cNvSpPr>
          <p:nvPr>
            <p:ph type="body" sz="quarter" idx="13"/>
          </p:nvPr>
        </p:nvSpPr>
        <p:spPr/>
        <p:txBody>
          <a:bodyPr/>
          <a:lstStyle/>
          <a:p>
            <a:r>
              <a:rPr lang="en-US" dirty="0"/>
              <a:t>Defining the scope of the API project – query document for API Gateway Archive Service API</a:t>
            </a:r>
          </a:p>
        </p:txBody>
      </p:sp>
      <p:sp>
        <p:nvSpPr>
          <p:cNvPr id="13" name="Inhaltsplatzhalter 4">
            <a:extLst>
              <a:ext uri="{FF2B5EF4-FFF2-40B4-BE49-F238E27FC236}">
                <a16:creationId xmlns:a16="http://schemas.microsoft.com/office/drawing/2014/main" id="{9B86D763-080D-4EC1-9F26-07147A056E71}"/>
              </a:ext>
            </a:extLst>
          </p:cNvPr>
          <p:cNvSpPr>
            <a:spLocks noGrp="1"/>
          </p:cNvSpPr>
          <p:nvPr>
            <p:ph sz="quarter" idx="4294967295"/>
            <p:custDataLst>
              <p:tags r:id="rId1"/>
            </p:custDataLst>
          </p:nvPr>
        </p:nvSpPr>
        <p:spPr>
          <a:xfrm>
            <a:off x="271462" y="3659228"/>
            <a:ext cx="8601075" cy="1023938"/>
          </a:xfrm>
        </p:spPr>
        <p:txBody>
          <a:bodyPr>
            <a:normAutofit/>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API project can contain one API or multiple APIs</a:t>
            </a:r>
          </a:p>
          <a:p>
            <a:pPr>
              <a:buFont typeface="Arial" panose="020B0604020202020204" pitchFamily="34" charset="0"/>
              <a:buChar char="•"/>
            </a:pPr>
            <a:r>
              <a:rPr lang="en-US" dirty="0"/>
              <a:t>All dependent assets will be included automatically</a:t>
            </a:r>
          </a:p>
          <a:p>
            <a:pPr>
              <a:buFont typeface="Arial" panose="020B0604020202020204" pitchFamily="34" charset="0"/>
              <a:buChar char="•"/>
            </a:pPr>
            <a:r>
              <a:rPr lang="en-US" dirty="0"/>
              <a:t>It might be necessary to add more assets to the API project scope in the export_payload.json file, for example OAuth2 scope mappings, users, groups, teams</a:t>
            </a:r>
          </a:p>
        </p:txBody>
      </p:sp>
      <p:pic>
        <p:nvPicPr>
          <p:cNvPr id="15" name="Grafik 14">
            <a:extLst>
              <a:ext uri="{FF2B5EF4-FFF2-40B4-BE49-F238E27FC236}">
                <a16:creationId xmlns:a16="http://schemas.microsoft.com/office/drawing/2014/main" id="{E9595367-7C7D-454B-AA0F-B9D6E58F6E47}"/>
              </a:ext>
            </a:extLst>
          </p:cNvPr>
          <p:cNvPicPr>
            <a:picLocks noChangeAspect="1"/>
          </p:cNvPicPr>
          <p:nvPr/>
        </p:nvPicPr>
        <p:blipFill>
          <a:blip r:embed="rId5"/>
          <a:stretch>
            <a:fillRect/>
          </a:stretch>
        </p:blipFill>
        <p:spPr>
          <a:xfrm>
            <a:off x="449618" y="1090516"/>
            <a:ext cx="1888755" cy="2305050"/>
          </a:xfrm>
          <a:prstGeom prst="rect">
            <a:avLst/>
          </a:prstGeom>
        </p:spPr>
      </p:pic>
      <p:sp>
        <p:nvSpPr>
          <p:cNvPr id="16" name="Gleichschenkliges Dreieck 15">
            <a:extLst>
              <a:ext uri="{FF2B5EF4-FFF2-40B4-BE49-F238E27FC236}">
                <a16:creationId xmlns:a16="http://schemas.microsoft.com/office/drawing/2014/main" id="{33603837-408E-4651-9AA1-879AEA00CB55}"/>
              </a:ext>
            </a:extLst>
          </p:cNvPr>
          <p:cNvSpPr/>
          <p:nvPr>
            <p:custDataLst>
              <p:tags r:id="rId2"/>
            </p:custDataLst>
          </p:nvPr>
        </p:nvSpPr>
        <p:spPr>
          <a:xfrm rot="16200000">
            <a:off x="1878611" y="1370715"/>
            <a:ext cx="2028826" cy="2020875"/>
          </a:xfrm>
          <a:prstGeom prst="triangle">
            <a:avLst>
              <a:gd name="adj" fmla="val 15372"/>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pic>
        <p:nvPicPr>
          <p:cNvPr id="10" name="Grafik 9">
            <a:extLst>
              <a:ext uri="{FF2B5EF4-FFF2-40B4-BE49-F238E27FC236}">
                <a16:creationId xmlns:a16="http://schemas.microsoft.com/office/drawing/2014/main" id="{9FFC6169-A0D9-4C7C-97B4-6A05867596AB}"/>
              </a:ext>
            </a:extLst>
          </p:cNvPr>
          <p:cNvPicPr>
            <a:picLocks noChangeAspect="1"/>
          </p:cNvPicPr>
          <p:nvPr/>
        </p:nvPicPr>
        <p:blipFill>
          <a:blip r:embed="rId6"/>
          <a:stretch>
            <a:fillRect/>
          </a:stretch>
        </p:blipFill>
        <p:spPr>
          <a:xfrm>
            <a:off x="3903460" y="1366741"/>
            <a:ext cx="4286250" cy="2028825"/>
          </a:xfrm>
          <a:prstGeom prst="rect">
            <a:avLst/>
          </a:prstGeom>
        </p:spPr>
      </p:pic>
    </p:spTree>
    <p:extLst>
      <p:ext uri="{BB962C8B-B14F-4D97-AF65-F5344CB8AC3E}">
        <p14:creationId xmlns:p14="http://schemas.microsoft.com/office/powerpoint/2010/main" val="40123116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755CFF21-9B7B-43AB-BD18-67B524F2F697}"/>
              </a:ext>
            </a:extLst>
          </p:cNvPr>
          <p:cNvSpPr>
            <a:spLocks noGrp="1"/>
          </p:cNvSpPr>
          <p:nvPr>
            <p:ph type="title"/>
          </p:nvPr>
        </p:nvSpPr>
        <p:spPr/>
        <p:txBody>
          <a:bodyPr/>
          <a:lstStyle/>
          <a:p>
            <a:r>
              <a:rPr lang="en-US"/>
              <a:t>Version History</a:t>
            </a:r>
            <a:endParaRPr lang="en-US" dirty="0"/>
          </a:p>
        </p:txBody>
      </p:sp>
      <p:sp>
        <p:nvSpPr>
          <p:cNvPr id="4" name="Foliennummernplatzhalter 3">
            <a:extLst>
              <a:ext uri="{FF2B5EF4-FFF2-40B4-BE49-F238E27FC236}">
                <a16:creationId xmlns:a16="http://schemas.microsoft.com/office/drawing/2014/main" id="{1EF623E8-03F2-491B-90AA-0E12F5ECEB67}"/>
              </a:ext>
            </a:extLst>
          </p:cNvPr>
          <p:cNvSpPr>
            <a:spLocks noGrp="1"/>
          </p:cNvSpPr>
          <p:nvPr>
            <p:ph type="sldNum" sz="quarter" idx="11"/>
          </p:nvPr>
        </p:nvSpPr>
        <p:spPr/>
        <p:txBody>
          <a:bodyPr/>
          <a:lstStyle/>
          <a:p>
            <a:fld id="{FBE75FA5-C509-4590-93CE-878685F65CB2}" type="slidenum">
              <a:rPr lang="en-US" smtClean="0"/>
              <a:pPr/>
              <a:t>2</a:t>
            </a:fld>
            <a:endParaRPr lang="en-US" dirty="0"/>
          </a:p>
        </p:txBody>
      </p:sp>
      <p:sp>
        <p:nvSpPr>
          <p:cNvPr id="20" name="Textplatzhalter 19">
            <a:extLst>
              <a:ext uri="{FF2B5EF4-FFF2-40B4-BE49-F238E27FC236}">
                <a16:creationId xmlns:a16="http://schemas.microsoft.com/office/drawing/2014/main" id="{1D5EA7C6-7FAD-436D-9B73-13F9929BBFDA}"/>
              </a:ext>
            </a:extLst>
          </p:cNvPr>
          <p:cNvSpPr>
            <a:spLocks noGrp="1"/>
          </p:cNvSpPr>
          <p:nvPr>
            <p:ph type="body" sz="quarter" idx="13"/>
          </p:nvPr>
        </p:nvSpPr>
        <p:spPr/>
        <p:txBody>
          <a:bodyPr/>
          <a:lstStyle/>
          <a:p>
            <a:endParaRPr lang="en-US" dirty="0"/>
          </a:p>
        </p:txBody>
      </p:sp>
      <p:graphicFrame>
        <p:nvGraphicFramePr>
          <p:cNvPr id="22" name="Inhaltsplatzhalter 7">
            <a:extLst>
              <a:ext uri="{FF2B5EF4-FFF2-40B4-BE49-F238E27FC236}">
                <a16:creationId xmlns:a16="http://schemas.microsoft.com/office/drawing/2014/main" id="{58B20F86-20C2-485E-9B39-401AF0CDB0B0}"/>
              </a:ext>
            </a:extLst>
          </p:cNvPr>
          <p:cNvGraphicFramePr>
            <a:graphicFrameLocks/>
          </p:cNvGraphicFramePr>
          <p:nvPr>
            <p:custDataLst>
              <p:tags r:id="rId1"/>
            </p:custDataLst>
            <p:extLst>
              <p:ext uri="{D42A27DB-BD31-4B8C-83A1-F6EECF244321}">
                <p14:modId xmlns:p14="http://schemas.microsoft.com/office/powerpoint/2010/main" val="1291516529"/>
              </p:ext>
            </p:extLst>
          </p:nvPr>
        </p:nvGraphicFramePr>
        <p:xfrm>
          <a:off x="395288" y="1131888"/>
          <a:ext cx="8353425" cy="2773744"/>
        </p:xfrm>
        <a:graphic>
          <a:graphicData uri="http://schemas.openxmlformats.org/drawingml/2006/table">
            <a:tbl>
              <a:tblPr firstRow="1" lastCol="1" bandRow="1">
                <a:tableStyleId>{69012ECD-51FC-41F1-AA8D-1B2483CD663E}</a:tableStyleId>
              </a:tblPr>
              <a:tblGrid>
                <a:gridCol w="1880994">
                  <a:extLst>
                    <a:ext uri="{9D8B030D-6E8A-4147-A177-3AD203B41FA5}">
                      <a16:colId xmlns:a16="http://schemas.microsoft.com/office/drawing/2014/main" val="20000"/>
                    </a:ext>
                  </a:extLst>
                </a:gridCol>
                <a:gridCol w="1880994">
                  <a:extLst>
                    <a:ext uri="{9D8B030D-6E8A-4147-A177-3AD203B41FA5}">
                      <a16:colId xmlns:a16="http://schemas.microsoft.com/office/drawing/2014/main" val="20001"/>
                    </a:ext>
                  </a:extLst>
                </a:gridCol>
                <a:gridCol w="4591437">
                  <a:extLst>
                    <a:ext uri="{9D8B030D-6E8A-4147-A177-3AD203B41FA5}">
                      <a16:colId xmlns:a16="http://schemas.microsoft.com/office/drawing/2014/main" val="20002"/>
                    </a:ext>
                  </a:extLst>
                </a:gridCol>
              </a:tblGrid>
              <a:tr h="341312">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600" u="none" strike="noStrike" cap="none" normalizeH="0" baseline="0" dirty="0">
                          <a:ln>
                            <a:noFill/>
                          </a:ln>
                          <a:effectLst/>
                        </a:rPr>
                        <a:t>Version</a:t>
                      </a:r>
                      <a:endParaRPr kumimoji="0" lang="en-US" sz="1600" b="1" i="0" u="none" strike="noStrike" cap="none" normalizeH="0" baseline="0" dirty="0">
                        <a:ln>
                          <a:noFill/>
                        </a:ln>
                        <a:solidFill>
                          <a:schemeClr val="bg1"/>
                        </a:solidFill>
                        <a:effectLst/>
                        <a:latin typeface="+mn-lt"/>
                      </a:endParaRP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600" u="none" strike="noStrike" cap="none" normalizeH="0" baseline="0">
                          <a:ln>
                            <a:noFill/>
                          </a:ln>
                          <a:effectLst/>
                        </a:rPr>
                        <a:t>Date</a:t>
                      </a:r>
                      <a:endParaRPr kumimoji="0" lang="en-US" sz="1600" b="1" i="0" u="none" strike="noStrike" cap="none" normalizeH="0" baseline="0" dirty="0">
                        <a:ln>
                          <a:noFill/>
                        </a:ln>
                        <a:solidFill>
                          <a:schemeClr val="bg1"/>
                        </a:solidFill>
                        <a:effectLst/>
                        <a:latin typeface="+mn-lt"/>
                      </a:endParaRP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600" u="none" strike="noStrike" cap="none" normalizeH="0" baseline="0">
                          <a:ln>
                            <a:noFill/>
                          </a:ln>
                          <a:effectLst/>
                        </a:rPr>
                        <a:t>Description</a:t>
                      </a:r>
                      <a:endParaRPr kumimoji="0" lang="en-US" sz="1600" b="1" i="0" u="none" strike="noStrike" cap="none" normalizeH="0" baseline="0" dirty="0">
                        <a:ln>
                          <a:noFill/>
                        </a:ln>
                        <a:solidFill>
                          <a:schemeClr val="bg1"/>
                        </a:solidFill>
                        <a:effectLst/>
                        <a:latin typeface="+mn-lt"/>
                      </a:endParaRPr>
                    </a:p>
                  </a:txBody>
                  <a:tcPr marL="72000" marR="72000" marT="0" marB="0" anchor="ctr" horzOverflow="overflow"/>
                </a:tc>
                <a:extLst>
                  <a:ext uri="{0D108BD9-81ED-4DB2-BD59-A6C34878D82A}">
                    <a16:rowId xmlns:a16="http://schemas.microsoft.com/office/drawing/2014/main" val="10000"/>
                  </a:ext>
                </a:extLst>
              </a:tr>
              <a:tr h="349250">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rPr>
                        <a:t>1.0</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lang="en-US" sz="1400" dirty="0"/>
                        <a:t>November 2021</a:t>
                      </a:r>
                      <a:endParaRPr kumimoji="0" lang="en-US" sz="1400" b="0" i="0" u="none" strike="noStrike" cap="none" normalizeH="0" baseline="0" dirty="0">
                        <a:ln>
                          <a:noFill/>
                        </a:ln>
                        <a:solidFill>
                          <a:schemeClr val="tx1"/>
                        </a:solidFill>
                        <a:effectLst/>
                        <a:latin typeface="+mn-lt"/>
                      </a:endParaRP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kern="1200" cap="none" normalizeH="0" baseline="0" dirty="0">
                          <a:ln>
                            <a:noFill/>
                          </a:ln>
                          <a:solidFill>
                            <a:schemeClr val="tx1"/>
                          </a:solidFill>
                          <a:effectLst/>
                          <a:latin typeface="+mn-lt"/>
                          <a:ea typeface="+mn-ea"/>
                          <a:cs typeface="+mn-cs"/>
                        </a:rPr>
                        <a:t>Initial draft</a:t>
                      </a:r>
                    </a:p>
                  </a:txBody>
                  <a:tcPr marL="72000" marR="72000" marT="0" marB="0" anchor="ctr" horzOverflow="overflow"/>
                </a:tc>
                <a:extLst>
                  <a:ext uri="{0D108BD9-81ED-4DB2-BD59-A6C34878D82A}">
                    <a16:rowId xmlns:a16="http://schemas.microsoft.com/office/drawing/2014/main" val="10001"/>
                  </a:ext>
                </a:extLst>
              </a:tr>
              <a:tr h="349250">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rPr>
                        <a:t>1.1</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rPr>
                        <a:t>February 2022</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kern="1200" cap="none" normalizeH="0" baseline="0" dirty="0">
                          <a:ln>
                            <a:noFill/>
                          </a:ln>
                          <a:solidFill>
                            <a:schemeClr val="tx1"/>
                          </a:solidFill>
                          <a:effectLst/>
                          <a:latin typeface="+mn-lt"/>
                          <a:ea typeface="+mn-ea"/>
                          <a:cs typeface="+mn-cs"/>
                        </a:rPr>
                        <a:t>Document approved </a:t>
                      </a:r>
                      <a:r>
                        <a:rPr kumimoji="0" lang="en-US" sz="1400" b="0" i="0" u="none" strike="noStrike" kern="1200" cap="none" normalizeH="0" baseline="0">
                          <a:ln>
                            <a:noFill/>
                          </a:ln>
                          <a:solidFill>
                            <a:schemeClr val="tx1"/>
                          </a:solidFill>
                          <a:effectLst/>
                          <a:latin typeface="+mn-lt"/>
                          <a:ea typeface="+mn-ea"/>
                          <a:cs typeface="+mn-cs"/>
                        </a:rPr>
                        <a:t>by PS Offer Lead</a:t>
                      </a:r>
                      <a:endParaRPr kumimoji="0" lang="en-US" sz="1400" b="0" i="0" u="none" strike="noStrike" kern="1200" cap="none" normalizeH="0" baseline="0" dirty="0">
                        <a:ln>
                          <a:noFill/>
                        </a:ln>
                        <a:solidFill>
                          <a:schemeClr val="tx1"/>
                        </a:solidFill>
                        <a:effectLst/>
                        <a:latin typeface="+mn-lt"/>
                        <a:ea typeface="+mn-ea"/>
                        <a:cs typeface="+mn-cs"/>
                      </a:endParaRPr>
                    </a:p>
                  </a:txBody>
                  <a:tcPr marL="72000" marR="72000" marT="0" marB="0" anchor="ctr" horzOverflow="overflow"/>
                </a:tc>
                <a:extLst>
                  <a:ext uri="{0D108BD9-81ED-4DB2-BD59-A6C34878D82A}">
                    <a16:rowId xmlns:a16="http://schemas.microsoft.com/office/drawing/2014/main" val="10002"/>
                  </a:ext>
                </a:extLst>
              </a:tr>
              <a:tr h="349250">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cs typeface="Segoe UI Semibold" panose="020B0702040204020203" pitchFamily="34" charset="0"/>
                        </a:rPr>
                        <a:t>1.2</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cs typeface="Segoe UI Semibold" panose="020B0702040204020203" pitchFamily="34" charset="0"/>
                        </a:rPr>
                        <a:t>June 2023</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kern="1200" cap="none" normalizeH="0" baseline="0" dirty="0">
                          <a:ln>
                            <a:noFill/>
                          </a:ln>
                          <a:solidFill>
                            <a:schemeClr val="tx1"/>
                          </a:solidFill>
                          <a:effectLst/>
                          <a:latin typeface="+mn-lt"/>
                          <a:ea typeface="+mn-ea"/>
                          <a:cs typeface="+mn-cs"/>
                        </a:rPr>
                        <a:t>Use of Artifactory now optional, new pipeline definitions, introduction of stages, description of drill-down failure analysis, description of alias value substitution</a:t>
                      </a:r>
                    </a:p>
                  </a:txBody>
                  <a:tcPr marL="72000" marR="72000" marT="0" marB="0" anchor="ctr" horzOverflow="overflow"/>
                </a:tc>
                <a:extLst>
                  <a:ext uri="{0D108BD9-81ED-4DB2-BD59-A6C34878D82A}">
                    <a16:rowId xmlns:a16="http://schemas.microsoft.com/office/drawing/2014/main" val="10003"/>
                  </a:ext>
                </a:extLst>
              </a:tr>
              <a:tr h="349250">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kumimoji="0" lang="en-US" sz="1400" b="0" i="0" u="none" strike="noStrike" cap="none" normalizeH="0" baseline="0" dirty="0">
                          <a:ln>
                            <a:noFill/>
                          </a:ln>
                          <a:solidFill>
                            <a:schemeClr val="tx1"/>
                          </a:solidFill>
                          <a:effectLst/>
                          <a:latin typeface="+mn-lt"/>
                        </a:rPr>
                        <a:t>2.0</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defRPr/>
                      </a:pPr>
                      <a:r>
                        <a:rPr kumimoji="0" lang="en-US" sz="1400" b="0" i="0" u="none" strike="noStrike" cap="none" normalizeH="0" baseline="0" dirty="0">
                          <a:ln>
                            <a:noFill/>
                          </a:ln>
                          <a:solidFill>
                            <a:schemeClr val="tx1"/>
                          </a:solidFill>
                          <a:effectLst/>
                          <a:latin typeface="+mn-lt"/>
                          <a:cs typeface="Segoe UI Semibold" panose="020B0702040204020203" pitchFamily="34" charset="0"/>
                        </a:rPr>
                        <a:t>June 2024</a:t>
                      </a: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r>
                        <a:rPr lang="en-US" sz="1400" b="0" kern="1200" dirty="0">
                          <a:solidFill>
                            <a:schemeClr val="tx2"/>
                          </a:solidFill>
                          <a:latin typeface="+mn-lt"/>
                          <a:ea typeface="+mn-ea"/>
                          <a:cs typeface="+mn-cs"/>
                        </a:rPr>
                        <a:t>Major overhaul covering the webMethods API Gateway Staging solution version 2.0 including the Azure DevOps Demo Generator</a:t>
                      </a:r>
                    </a:p>
                  </a:txBody>
                  <a:tcPr marL="72000" marR="72000" marT="0" marB="0" anchor="ctr" horzOverflow="overflow"/>
                </a:tc>
                <a:extLst>
                  <a:ext uri="{0D108BD9-81ED-4DB2-BD59-A6C34878D82A}">
                    <a16:rowId xmlns:a16="http://schemas.microsoft.com/office/drawing/2014/main" val="10004"/>
                  </a:ext>
                </a:extLst>
              </a:tr>
              <a:tr h="349250">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endParaRPr kumimoji="0" lang="en-US" sz="1400" b="0" i="0" u="none" strike="noStrike" cap="none" normalizeH="0" baseline="0" dirty="0">
                        <a:ln>
                          <a:noFill/>
                        </a:ln>
                        <a:solidFill>
                          <a:schemeClr val="tx1"/>
                        </a:solidFill>
                        <a:effectLst/>
                        <a:latin typeface="+mn-lt"/>
                      </a:endParaRP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endParaRPr kumimoji="0" lang="en-US" sz="1400" b="0" i="0" u="none" strike="noStrike" cap="none" normalizeH="0" baseline="0" dirty="0">
                        <a:ln>
                          <a:noFill/>
                        </a:ln>
                        <a:solidFill>
                          <a:schemeClr val="tx1"/>
                        </a:solidFill>
                        <a:effectLst/>
                        <a:latin typeface="+mn-lt"/>
                      </a:endParaRPr>
                    </a:p>
                  </a:txBody>
                  <a:tcPr marL="72000" marR="72000" marT="0" marB="0" anchor="ctr" horzOverflow="overflow"/>
                </a:tc>
                <a:tc>
                  <a:txBody>
                    <a:bodyPr/>
                    <a:lstStyle/>
                    <a:p>
                      <a:pPr marL="0" marR="0" lvl="0" indent="0" algn="l" defTabSz="914400" rtl="0" eaLnBrk="1" fontAlgn="base" latinLnBrk="0" hangingPunct="1">
                        <a:lnSpc>
                          <a:spcPct val="110000"/>
                        </a:lnSpc>
                        <a:spcBef>
                          <a:spcPct val="0"/>
                        </a:spcBef>
                        <a:spcAft>
                          <a:spcPct val="25000"/>
                        </a:spcAft>
                        <a:buClrTx/>
                        <a:buSzPct val="90000"/>
                        <a:buFont typeface="Wingdings" pitchFamily="2" charset="2"/>
                        <a:buNone/>
                        <a:tabLst/>
                      </a:pPr>
                      <a:endParaRPr kumimoji="0" lang="en-US" sz="1400" b="0" i="0" u="none" strike="noStrike" kern="1200" cap="none" normalizeH="0" baseline="0" dirty="0">
                        <a:ln>
                          <a:noFill/>
                        </a:ln>
                        <a:solidFill>
                          <a:schemeClr val="tx1"/>
                        </a:solidFill>
                        <a:effectLst/>
                        <a:latin typeface="+mn-lt"/>
                        <a:ea typeface="+mn-ea"/>
                        <a:cs typeface="+mn-cs"/>
                      </a:endParaRPr>
                    </a:p>
                  </a:txBody>
                  <a:tcPr marL="72000" marR="72000" marT="0" marB="0" anchor="ctr" horzOverflow="overflow"/>
                </a:tc>
                <a:extLst>
                  <a:ext uri="{0D108BD9-81ED-4DB2-BD59-A6C34878D82A}">
                    <a16:rowId xmlns:a16="http://schemas.microsoft.com/office/drawing/2014/main" val="10005"/>
                  </a:ext>
                </a:extLst>
              </a:tr>
            </a:tbl>
          </a:graphicData>
        </a:graphic>
      </p:graphicFrame>
      <p:sp>
        <p:nvSpPr>
          <p:cNvPr id="2" name="Fußzeilenplatzhalter 1">
            <a:extLst>
              <a:ext uri="{FF2B5EF4-FFF2-40B4-BE49-F238E27FC236}">
                <a16:creationId xmlns:a16="http://schemas.microsoft.com/office/drawing/2014/main" id="{5D202B89-1DDE-4E0B-BDDF-D2C3D3554F60}"/>
              </a:ext>
            </a:extLst>
          </p:cNvPr>
          <p:cNvSpPr>
            <a:spLocks noGrp="1"/>
          </p:cNvSpPr>
          <p:nvPr>
            <p:ph type="ftr" sz="quarter" idx="10"/>
          </p:nvPr>
        </p:nvSpPr>
        <p:spPr/>
        <p:txBody>
          <a:bodyPr/>
          <a:lstStyle/>
          <a:p>
            <a:r>
              <a:rPr lang="en-US" dirty="0"/>
              <a:t>© 2024 Software AG. All rights reserved. For internal use only and for Software AG Partners.</a:t>
            </a:r>
          </a:p>
        </p:txBody>
      </p:sp>
    </p:spTree>
    <p:extLst>
      <p:ext uri="{BB962C8B-B14F-4D97-AF65-F5344CB8AC3E}">
        <p14:creationId xmlns:p14="http://schemas.microsoft.com/office/powerpoint/2010/main" val="427152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One Postman Collection with API-specific Tests per API Project</a:t>
            </a:r>
          </a:p>
        </p:txBody>
      </p:sp>
      <p:sp>
        <p:nvSpPr>
          <p:cNvPr id="2" name="Fußzeilenplatzhalter 1">
            <a:extLst>
              <a:ext uri="{FF2B5EF4-FFF2-40B4-BE49-F238E27FC236}">
                <a16:creationId xmlns:a16="http://schemas.microsoft.com/office/drawing/2014/main" id="{4B37A3E3-03B6-4D3F-807D-7650A7719E24}"/>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0</a:t>
            </a:fld>
            <a:endParaRPr lang="en-US" dirty="0"/>
          </a:p>
        </p:txBody>
      </p:sp>
      <p:sp>
        <p:nvSpPr>
          <p:cNvPr id="19" name="Untertitel 9">
            <a:extLst>
              <a:ext uri="{FF2B5EF4-FFF2-40B4-BE49-F238E27FC236}">
                <a16:creationId xmlns:a16="http://schemas.microsoft.com/office/drawing/2014/main" id="{565EBE80-467E-4222-950E-F7273E40837D}"/>
              </a:ext>
            </a:extLst>
          </p:cNvPr>
          <p:cNvSpPr>
            <a:spLocks noGrp="1"/>
          </p:cNvSpPr>
          <p:nvPr>
            <p:ph type="body" sz="quarter" idx="13"/>
          </p:nvPr>
        </p:nvSpPr>
        <p:spPr/>
        <p:txBody>
          <a:bodyPr/>
          <a:lstStyle/>
          <a:p>
            <a:r>
              <a:rPr lang="en-US" dirty="0"/>
              <a:t>Executed using Newman</a:t>
            </a:r>
          </a:p>
        </p:txBody>
      </p:sp>
      <p:sp>
        <p:nvSpPr>
          <p:cNvPr id="10" name="Inhaltsplatzhalter 4">
            <a:extLst>
              <a:ext uri="{FF2B5EF4-FFF2-40B4-BE49-F238E27FC236}">
                <a16:creationId xmlns:a16="http://schemas.microsoft.com/office/drawing/2014/main" id="{B7BF383B-C69B-460D-AB3E-B3E01997B89A}"/>
              </a:ext>
            </a:extLst>
          </p:cNvPr>
          <p:cNvSpPr>
            <a:spLocks noGrp="1"/>
          </p:cNvSpPr>
          <p:nvPr>
            <p:ph sz="quarter" idx="4294967295"/>
            <p:custDataLst>
              <p:tags r:id="rId1"/>
            </p:custDataLst>
          </p:nvPr>
        </p:nvSpPr>
        <p:spPr>
          <a:xfrm>
            <a:off x="217612" y="4230688"/>
            <a:ext cx="8601075" cy="457200"/>
          </a:xfrm>
        </p:spPr>
        <p:txBody>
          <a:bodyPr>
            <a:normAutofit/>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Test results can be inspected and consolidated in Azure DevOps</a:t>
            </a:r>
          </a:p>
        </p:txBody>
      </p:sp>
      <p:pic>
        <p:nvPicPr>
          <p:cNvPr id="15" name="Grafik 14">
            <a:extLst>
              <a:ext uri="{FF2B5EF4-FFF2-40B4-BE49-F238E27FC236}">
                <a16:creationId xmlns:a16="http://schemas.microsoft.com/office/drawing/2014/main" id="{E9595367-7C7D-454B-AA0F-B9D6E58F6E47}"/>
              </a:ext>
            </a:extLst>
          </p:cNvPr>
          <p:cNvPicPr>
            <a:picLocks noChangeAspect="1"/>
          </p:cNvPicPr>
          <p:nvPr/>
        </p:nvPicPr>
        <p:blipFill>
          <a:blip r:embed="rId5"/>
          <a:stretch>
            <a:fillRect/>
          </a:stretch>
        </p:blipFill>
        <p:spPr>
          <a:xfrm>
            <a:off x="1537336" y="1419225"/>
            <a:ext cx="1888755" cy="2305050"/>
          </a:xfrm>
          <a:prstGeom prst="rect">
            <a:avLst/>
          </a:prstGeom>
        </p:spPr>
      </p:pic>
      <p:sp>
        <p:nvSpPr>
          <p:cNvPr id="16" name="Gleichschenkliges Dreieck 15">
            <a:extLst>
              <a:ext uri="{FF2B5EF4-FFF2-40B4-BE49-F238E27FC236}">
                <a16:creationId xmlns:a16="http://schemas.microsoft.com/office/drawing/2014/main" id="{33603837-408E-4651-9AA1-879AEA00CB55}"/>
              </a:ext>
            </a:extLst>
          </p:cNvPr>
          <p:cNvSpPr/>
          <p:nvPr>
            <p:custDataLst>
              <p:tags r:id="rId2"/>
            </p:custDataLst>
          </p:nvPr>
        </p:nvSpPr>
        <p:spPr>
          <a:xfrm rot="16200000">
            <a:off x="3115375" y="1848472"/>
            <a:ext cx="1419226" cy="2332379"/>
          </a:xfrm>
          <a:prstGeom prst="triangle">
            <a:avLst>
              <a:gd name="adj" fmla="val 37171"/>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pic>
        <p:nvPicPr>
          <p:cNvPr id="18" name="Grafik 17">
            <a:extLst>
              <a:ext uri="{FF2B5EF4-FFF2-40B4-BE49-F238E27FC236}">
                <a16:creationId xmlns:a16="http://schemas.microsoft.com/office/drawing/2014/main" id="{4CA6F9B2-4B16-4A36-8651-AD9C1C5C629F}"/>
              </a:ext>
            </a:extLst>
          </p:cNvPr>
          <p:cNvPicPr>
            <a:picLocks noChangeAspect="1"/>
          </p:cNvPicPr>
          <p:nvPr/>
        </p:nvPicPr>
        <p:blipFill>
          <a:blip r:embed="rId6"/>
          <a:stretch>
            <a:fillRect/>
          </a:stretch>
        </p:blipFill>
        <p:spPr>
          <a:xfrm>
            <a:off x="4991173" y="2305050"/>
            <a:ext cx="2200275" cy="1419225"/>
          </a:xfrm>
          <a:prstGeom prst="rect">
            <a:avLst/>
          </a:prstGeom>
          <a:ln>
            <a:solidFill>
              <a:schemeClr val="accent1"/>
            </a:solidFill>
          </a:ln>
        </p:spPr>
      </p:pic>
    </p:spTree>
    <p:extLst>
      <p:ext uri="{BB962C8B-B14F-4D97-AF65-F5344CB8AC3E}">
        <p14:creationId xmlns:p14="http://schemas.microsoft.com/office/powerpoint/2010/main" val="4224747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470035A-AA30-C981-D155-7D37865665D7}"/>
              </a:ext>
            </a:extLst>
          </p:cNvPr>
          <p:cNvPicPr>
            <a:picLocks noChangeAspect="1"/>
          </p:cNvPicPr>
          <p:nvPr/>
        </p:nvPicPr>
        <p:blipFill>
          <a:blip r:embed="rId5"/>
          <a:stretch>
            <a:fillRect/>
          </a:stretch>
        </p:blipFill>
        <p:spPr>
          <a:xfrm>
            <a:off x="258258" y="1247830"/>
            <a:ext cx="2600325" cy="3267075"/>
          </a:xfrm>
          <a:prstGeom prst="rect">
            <a:avLst/>
          </a:prstGeom>
        </p:spPr>
      </p:pic>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PI Gateway Configurations per Stage</a:t>
            </a:r>
          </a:p>
        </p:txBody>
      </p:sp>
      <p:sp>
        <p:nvSpPr>
          <p:cNvPr id="2" name="Fußzeilenplatzhalter 1">
            <a:extLst>
              <a:ext uri="{FF2B5EF4-FFF2-40B4-BE49-F238E27FC236}">
                <a16:creationId xmlns:a16="http://schemas.microsoft.com/office/drawing/2014/main" id="{D05E4AD4-2E8C-48A2-938F-C3B137E585BD}"/>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1</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For setting up new API Gateway instances or for resetting existing instances to a defined state</a:t>
            </a:r>
          </a:p>
        </p:txBody>
      </p:sp>
      <p:sp>
        <p:nvSpPr>
          <p:cNvPr id="16" name="Gleichschenkliges Dreieck 15">
            <a:extLst>
              <a:ext uri="{FF2B5EF4-FFF2-40B4-BE49-F238E27FC236}">
                <a16:creationId xmlns:a16="http://schemas.microsoft.com/office/drawing/2014/main" id="{A4284C67-1CF0-438F-BA4C-1677E4B13496}"/>
              </a:ext>
            </a:extLst>
          </p:cNvPr>
          <p:cNvSpPr/>
          <p:nvPr>
            <p:custDataLst>
              <p:tags r:id="rId1"/>
            </p:custDataLst>
          </p:nvPr>
        </p:nvSpPr>
        <p:spPr>
          <a:xfrm rot="16200000">
            <a:off x="1709019" y="1032007"/>
            <a:ext cx="1899048" cy="2600325"/>
          </a:xfrm>
          <a:prstGeom prst="triangle">
            <a:avLst>
              <a:gd name="adj" fmla="val 45967"/>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pic>
        <p:nvPicPr>
          <p:cNvPr id="19" name="Grafik 18">
            <a:extLst>
              <a:ext uri="{FF2B5EF4-FFF2-40B4-BE49-F238E27FC236}">
                <a16:creationId xmlns:a16="http://schemas.microsoft.com/office/drawing/2014/main" id="{AA9FE80F-6D8F-4647-ABC0-CA232C5301C1}"/>
              </a:ext>
            </a:extLst>
          </p:cNvPr>
          <p:cNvPicPr>
            <a:picLocks noChangeAspect="1"/>
          </p:cNvPicPr>
          <p:nvPr/>
        </p:nvPicPr>
        <p:blipFill>
          <a:blip r:embed="rId6"/>
          <a:stretch>
            <a:fillRect/>
          </a:stretch>
        </p:blipFill>
        <p:spPr>
          <a:xfrm>
            <a:off x="3958703" y="1386219"/>
            <a:ext cx="1171575" cy="1895475"/>
          </a:xfrm>
          <a:prstGeom prst="rect">
            <a:avLst/>
          </a:prstGeom>
        </p:spPr>
      </p:pic>
      <p:sp>
        <p:nvSpPr>
          <p:cNvPr id="17" name="Gleichschenkliges Dreieck 16">
            <a:extLst>
              <a:ext uri="{FF2B5EF4-FFF2-40B4-BE49-F238E27FC236}">
                <a16:creationId xmlns:a16="http://schemas.microsoft.com/office/drawing/2014/main" id="{0BCF9D16-5850-471D-AA12-4192FBD18330}"/>
              </a:ext>
            </a:extLst>
          </p:cNvPr>
          <p:cNvSpPr/>
          <p:nvPr>
            <p:custDataLst>
              <p:tags r:id="rId2"/>
            </p:custDataLst>
          </p:nvPr>
        </p:nvSpPr>
        <p:spPr>
          <a:xfrm rot="16200000">
            <a:off x="4584881" y="1622983"/>
            <a:ext cx="2318150" cy="1837469"/>
          </a:xfrm>
          <a:prstGeom prst="triangle">
            <a:avLst>
              <a:gd name="adj" fmla="val 68320"/>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pic>
        <p:nvPicPr>
          <p:cNvPr id="21" name="Grafik 20">
            <a:extLst>
              <a:ext uri="{FF2B5EF4-FFF2-40B4-BE49-F238E27FC236}">
                <a16:creationId xmlns:a16="http://schemas.microsoft.com/office/drawing/2014/main" id="{B0494DB8-1DA0-4FDF-9BA7-B0072F675E75}"/>
              </a:ext>
            </a:extLst>
          </p:cNvPr>
          <p:cNvPicPr>
            <a:picLocks noChangeAspect="1"/>
          </p:cNvPicPr>
          <p:nvPr/>
        </p:nvPicPr>
        <p:blipFill>
          <a:blip r:embed="rId7"/>
          <a:stretch>
            <a:fillRect/>
          </a:stretch>
        </p:blipFill>
        <p:spPr>
          <a:xfrm>
            <a:off x="6658169" y="1386219"/>
            <a:ext cx="1905000" cy="2314575"/>
          </a:xfrm>
          <a:prstGeom prst="rect">
            <a:avLst/>
          </a:prstGeom>
        </p:spPr>
      </p:pic>
    </p:spTree>
    <p:extLst>
      <p:ext uri="{BB962C8B-B14F-4D97-AF65-F5344CB8AC3E}">
        <p14:creationId xmlns:p14="http://schemas.microsoft.com/office/powerpoint/2010/main" val="6477716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C1D3CB5F-AA65-45C7-9E43-982C639AB846}"/>
              </a:ext>
            </a:extLst>
          </p:cNvPr>
          <p:cNvPicPr>
            <a:picLocks noChangeAspect="1"/>
          </p:cNvPicPr>
          <p:nvPr/>
        </p:nvPicPr>
        <p:blipFill>
          <a:blip r:embed="rId4"/>
          <a:stretch>
            <a:fillRect/>
          </a:stretch>
        </p:blipFill>
        <p:spPr>
          <a:xfrm>
            <a:off x="323110" y="1654651"/>
            <a:ext cx="1905000" cy="2314575"/>
          </a:xfrm>
          <a:prstGeom prst="rect">
            <a:avLst/>
          </a:prstGeom>
        </p:spPr>
      </p:pic>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One Postman export_payload.json File per Stage</a:t>
            </a:r>
          </a:p>
        </p:txBody>
      </p:sp>
      <p:sp>
        <p:nvSpPr>
          <p:cNvPr id="2" name="Fußzeilenplatzhalter 1">
            <a:extLst>
              <a:ext uri="{FF2B5EF4-FFF2-40B4-BE49-F238E27FC236}">
                <a16:creationId xmlns:a16="http://schemas.microsoft.com/office/drawing/2014/main" id="{017A97A3-35B6-429B-962F-F4E17CA45A46}"/>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2</a:t>
            </a:fld>
            <a:endParaRPr lang="en-US" dirty="0"/>
          </a:p>
        </p:txBody>
      </p:sp>
      <p:sp>
        <p:nvSpPr>
          <p:cNvPr id="19" name="Untertitel 9">
            <a:extLst>
              <a:ext uri="{FF2B5EF4-FFF2-40B4-BE49-F238E27FC236}">
                <a16:creationId xmlns:a16="http://schemas.microsoft.com/office/drawing/2014/main" id="{565EBE80-467E-4222-950E-F7273E40837D}"/>
              </a:ext>
            </a:extLst>
          </p:cNvPr>
          <p:cNvSpPr>
            <a:spLocks noGrp="1"/>
          </p:cNvSpPr>
          <p:nvPr>
            <p:ph type="body" sz="quarter" idx="13"/>
          </p:nvPr>
        </p:nvSpPr>
        <p:spPr/>
        <p:txBody>
          <a:bodyPr/>
          <a:lstStyle/>
          <a:p>
            <a:r>
              <a:rPr lang="en-US" dirty="0"/>
              <a:t>Defining the scope of the stage configuration – query document for API Gateway Archive Service API</a:t>
            </a:r>
          </a:p>
        </p:txBody>
      </p:sp>
      <p:sp>
        <p:nvSpPr>
          <p:cNvPr id="16" name="Gleichschenkliges Dreieck 15">
            <a:extLst>
              <a:ext uri="{FF2B5EF4-FFF2-40B4-BE49-F238E27FC236}">
                <a16:creationId xmlns:a16="http://schemas.microsoft.com/office/drawing/2014/main" id="{33603837-408E-4651-9AA1-879AEA00CB55}"/>
              </a:ext>
            </a:extLst>
          </p:cNvPr>
          <p:cNvSpPr/>
          <p:nvPr>
            <p:custDataLst>
              <p:tags r:id="rId1"/>
            </p:custDataLst>
          </p:nvPr>
        </p:nvSpPr>
        <p:spPr>
          <a:xfrm rot="16200000">
            <a:off x="707462" y="1997861"/>
            <a:ext cx="3705226" cy="1605986"/>
          </a:xfrm>
          <a:prstGeom prst="triangle">
            <a:avLst>
              <a:gd name="adj" fmla="val 26985"/>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pic>
        <p:nvPicPr>
          <p:cNvPr id="11" name="Grafik 10">
            <a:extLst>
              <a:ext uri="{FF2B5EF4-FFF2-40B4-BE49-F238E27FC236}">
                <a16:creationId xmlns:a16="http://schemas.microsoft.com/office/drawing/2014/main" id="{765A281A-3143-4975-98E7-4D9AF4281C04}"/>
              </a:ext>
            </a:extLst>
          </p:cNvPr>
          <p:cNvPicPr>
            <a:picLocks noChangeAspect="1"/>
          </p:cNvPicPr>
          <p:nvPr/>
        </p:nvPicPr>
        <p:blipFill>
          <a:blip r:embed="rId5"/>
          <a:stretch>
            <a:fillRect/>
          </a:stretch>
        </p:blipFill>
        <p:spPr>
          <a:xfrm>
            <a:off x="3363065" y="948240"/>
            <a:ext cx="5457825" cy="3705225"/>
          </a:xfrm>
          <a:prstGeom prst="rect">
            <a:avLst/>
          </a:prstGeom>
        </p:spPr>
      </p:pic>
    </p:spTree>
    <p:extLst>
      <p:ext uri="{BB962C8B-B14F-4D97-AF65-F5344CB8AC3E}">
        <p14:creationId xmlns:p14="http://schemas.microsoft.com/office/powerpoint/2010/main" val="336712559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Everything Stored in a Git Repository (1/2)</a:t>
            </a:r>
          </a:p>
        </p:txBody>
      </p:sp>
      <p:sp>
        <p:nvSpPr>
          <p:cNvPr id="2" name="Fußzeilenplatzhalter 1">
            <a:extLst>
              <a:ext uri="{FF2B5EF4-FFF2-40B4-BE49-F238E27FC236}">
                <a16:creationId xmlns:a16="http://schemas.microsoft.com/office/drawing/2014/main" id="{8D3965E5-2BF4-4A61-8718-ADB8870CF5F9}"/>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3</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Assets, API tests, API Gateway configurations, pipelines, Postman collections with utilities</a:t>
            </a:r>
          </a:p>
        </p:txBody>
      </p:sp>
      <p:sp>
        <p:nvSpPr>
          <p:cNvPr id="5" name="Inhaltsplatzhalter 4">
            <a:extLst>
              <a:ext uri="{FF2B5EF4-FFF2-40B4-BE49-F238E27FC236}">
                <a16:creationId xmlns:a16="http://schemas.microsoft.com/office/drawing/2014/main" id="{767DEA81-4437-4CA1-A5EF-9456F03826EB}"/>
              </a:ext>
            </a:extLst>
          </p:cNvPr>
          <p:cNvSpPr>
            <a:spLocks noGrp="1"/>
          </p:cNvSpPr>
          <p:nvPr>
            <p:ph sz="quarter" idx="4294967295"/>
            <p:custDataLst>
              <p:tags r:id="rId1"/>
            </p:custDataLst>
          </p:nvPr>
        </p:nvSpPr>
        <p:spPr>
          <a:xfrm>
            <a:off x="216000" y="1017694"/>
            <a:ext cx="8601075" cy="3498850"/>
          </a:xfrm>
        </p:spPr>
        <p:txBody>
          <a:bodyPr>
            <a:normAutofit/>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Deployment and configuration pipelines can be executed for past development states by selecting a commit by its hash value</a:t>
            </a:r>
          </a:p>
        </p:txBody>
      </p:sp>
      <p:pic>
        <p:nvPicPr>
          <p:cNvPr id="6" name="Grafik 5">
            <a:extLst>
              <a:ext uri="{FF2B5EF4-FFF2-40B4-BE49-F238E27FC236}">
                <a16:creationId xmlns:a16="http://schemas.microsoft.com/office/drawing/2014/main" id="{948EF992-AC7F-4583-B4A3-0D1948F289EC}"/>
              </a:ext>
            </a:extLst>
          </p:cNvPr>
          <p:cNvPicPr>
            <a:picLocks noChangeAspect="1"/>
          </p:cNvPicPr>
          <p:nvPr/>
        </p:nvPicPr>
        <p:blipFill>
          <a:blip r:embed="rId4"/>
          <a:stretch>
            <a:fillRect/>
          </a:stretch>
        </p:blipFill>
        <p:spPr>
          <a:xfrm>
            <a:off x="3097863" y="1672761"/>
            <a:ext cx="2947147" cy="2890951"/>
          </a:xfrm>
          <a:prstGeom prst="rect">
            <a:avLst/>
          </a:prstGeom>
          <a:ln>
            <a:solidFill>
              <a:schemeClr val="accent1"/>
            </a:solidFill>
          </a:ln>
        </p:spPr>
      </p:pic>
    </p:spTree>
    <p:extLst>
      <p:ext uri="{BB962C8B-B14F-4D97-AF65-F5344CB8AC3E}">
        <p14:creationId xmlns:p14="http://schemas.microsoft.com/office/powerpoint/2010/main" val="2921132767"/>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Everything Stored in a Git Repository (2/2)</a:t>
            </a:r>
          </a:p>
        </p:txBody>
      </p:sp>
      <p:sp>
        <p:nvSpPr>
          <p:cNvPr id="2" name="Fußzeilenplatzhalter 1">
            <a:extLst>
              <a:ext uri="{FF2B5EF4-FFF2-40B4-BE49-F238E27FC236}">
                <a16:creationId xmlns:a16="http://schemas.microsoft.com/office/drawing/2014/main" id="{70DD5BDD-4372-467E-ADB7-C22F11FD1CCE}"/>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4</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Assets, API tests, API Gateway configurations, pipelines, Postman collections with utilities</a:t>
            </a:r>
          </a:p>
        </p:txBody>
      </p:sp>
      <p:sp>
        <p:nvSpPr>
          <p:cNvPr id="5" name="Inhaltsplatzhalter 4">
            <a:extLst>
              <a:ext uri="{FF2B5EF4-FFF2-40B4-BE49-F238E27FC236}">
                <a16:creationId xmlns:a16="http://schemas.microsoft.com/office/drawing/2014/main" id="{767DEA81-4437-4CA1-A5EF-9456F03826EB}"/>
              </a:ext>
            </a:extLst>
          </p:cNvPr>
          <p:cNvSpPr>
            <a:spLocks noGrp="1"/>
          </p:cNvSpPr>
          <p:nvPr>
            <p:ph sz="quarter" idx="4294967295"/>
            <p:custDataLst>
              <p:tags r:id="rId1"/>
            </p:custDataLst>
          </p:nvPr>
        </p:nvSpPr>
        <p:spPr>
          <a:xfrm>
            <a:off x="217612" y="1041400"/>
            <a:ext cx="8601075" cy="3498850"/>
          </a:xfrm>
        </p:spPr>
        <p:txBody>
          <a:bodyPr>
            <a:normAutofit/>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Any changes in API assets or API Gateway configurations (or pipeline definitions!) can and should be committed into a feature branch</a:t>
            </a:r>
          </a:p>
        </p:txBody>
      </p:sp>
      <p:cxnSp>
        <p:nvCxnSpPr>
          <p:cNvPr id="6" name="Gerade Verbindung mit Pfeil 5">
            <a:extLst>
              <a:ext uri="{FF2B5EF4-FFF2-40B4-BE49-F238E27FC236}">
                <a16:creationId xmlns:a16="http://schemas.microsoft.com/office/drawing/2014/main" id="{2F410E94-BEBB-4375-963D-15AECF6F187A}"/>
              </a:ext>
            </a:extLst>
          </p:cNvPr>
          <p:cNvCxnSpPr>
            <a:cxnSpLocks/>
          </p:cNvCxnSpPr>
          <p:nvPr/>
        </p:nvCxnSpPr>
        <p:spPr>
          <a:xfrm>
            <a:off x="270900" y="3664634"/>
            <a:ext cx="73562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88AE178A-F7D5-4E3E-8602-71D3304DD365}"/>
              </a:ext>
            </a:extLst>
          </p:cNvPr>
          <p:cNvCxnSpPr>
            <a:cxnSpLocks/>
          </p:cNvCxnSpPr>
          <p:nvPr/>
        </p:nvCxnSpPr>
        <p:spPr>
          <a:xfrm>
            <a:off x="6210238" y="3107531"/>
            <a:ext cx="689720" cy="5571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561E407-B73E-452E-A55B-E7339D1906D6}"/>
              </a:ext>
            </a:extLst>
          </p:cNvPr>
          <p:cNvCxnSpPr>
            <a:cxnSpLocks/>
          </p:cNvCxnSpPr>
          <p:nvPr/>
        </p:nvCxnSpPr>
        <p:spPr>
          <a:xfrm flipH="1">
            <a:off x="2478575" y="3107531"/>
            <a:ext cx="37317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0BF16DF4-4E68-44FC-8F90-633EA71F6C74}"/>
              </a:ext>
            </a:extLst>
          </p:cNvPr>
          <p:cNvCxnSpPr/>
          <p:nvPr/>
        </p:nvCxnSpPr>
        <p:spPr>
          <a:xfrm flipV="1">
            <a:off x="1546225" y="3107531"/>
            <a:ext cx="932349" cy="557103"/>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6E0E9B4D-5786-48D9-9388-01E4B3F186E9}"/>
              </a:ext>
            </a:extLst>
          </p:cNvPr>
          <p:cNvSpPr txBox="1"/>
          <p:nvPr/>
        </p:nvSpPr>
        <p:spPr>
          <a:xfrm>
            <a:off x="1080049" y="3654028"/>
            <a:ext cx="932349" cy="246221"/>
          </a:xfrm>
          <a:prstGeom prst="rect">
            <a:avLst/>
          </a:prstGeom>
          <a:noFill/>
          <a:ln w="6350">
            <a:noFill/>
          </a:ln>
        </p:spPr>
        <p:txBody>
          <a:bodyPr wrap="square">
            <a:spAutoFit/>
          </a:bodyPr>
          <a:lstStyle/>
          <a:p>
            <a:r>
              <a:rPr lang="en-US" sz="1000" dirty="0">
                <a:solidFill>
                  <a:schemeClr val="accent1"/>
                </a:solidFill>
              </a:rPr>
              <a:t>main branch</a:t>
            </a:r>
          </a:p>
        </p:txBody>
      </p:sp>
      <p:sp>
        <p:nvSpPr>
          <p:cNvPr id="22" name="Textfeld 21">
            <a:extLst>
              <a:ext uri="{FF2B5EF4-FFF2-40B4-BE49-F238E27FC236}">
                <a16:creationId xmlns:a16="http://schemas.microsoft.com/office/drawing/2014/main" id="{349F1507-647E-445C-A077-6C64D365696F}"/>
              </a:ext>
            </a:extLst>
          </p:cNvPr>
          <p:cNvSpPr txBox="1"/>
          <p:nvPr/>
        </p:nvSpPr>
        <p:spPr>
          <a:xfrm>
            <a:off x="1029491" y="3182799"/>
            <a:ext cx="1535767" cy="246221"/>
          </a:xfrm>
          <a:prstGeom prst="rect">
            <a:avLst/>
          </a:prstGeom>
          <a:noFill/>
          <a:ln w="6350">
            <a:noFill/>
          </a:ln>
        </p:spPr>
        <p:txBody>
          <a:bodyPr wrap="square">
            <a:spAutoFit/>
          </a:bodyPr>
          <a:lstStyle/>
          <a:p>
            <a:r>
              <a:rPr lang="en-US" sz="1000" dirty="0">
                <a:solidFill>
                  <a:schemeClr val="accent1"/>
                </a:solidFill>
              </a:rPr>
              <a:t>feature branch</a:t>
            </a:r>
          </a:p>
        </p:txBody>
      </p:sp>
      <p:sp>
        <p:nvSpPr>
          <p:cNvPr id="23" name="Flussdiagramm: Verbinder 22">
            <a:extLst>
              <a:ext uri="{FF2B5EF4-FFF2-40B4-BE49-F238E27FC236}">
                <a16:creationId xmlns:a16="http://schemas.microsoft.com/office/drawing/2014/main" id="{511ABBC8-8447-4BA1-8CAC-8AAC889A52DF}"/>
              </a:ext>
            </a:extLst>
          </p:cNvPr>
          <p:cNvSpPr/>
          <p:nvPr/>
        </p:nvSpPr>
        <p:spPr>
          <a:xfrm>
            <a:off x="2715433" y="3071531"/>
            <a:ext cx="72000" cy="72000"/>
          </a:xfrm>
          <a:prstGeom prst="flowChartConnector">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4" name="Flussdiagramm: Verbinder 23">
            <a:extLst>
              <a:ext uri="{FF2B5EF4-FFF2-40B4-BE49-F238E27FC236}">
                <a16:creationId xmlns:a16="http://schemas.microsoft.com/office/drawing/2014/main" id="{80226670-2B4D-436A-A308-9153E454D447}"/>
              </a:ext>
            </a:extLst>
          </p:cNvPr>
          <p:cNvSpPr/>
          <p:nvPr/>
        </p:nvSpPr>
        <p:spPr>
          <a:xfrm>
            <a:off x="3591733" y="3628634"/>
            <a:ext cx="72000" cy="72000"/>
          </a:xfrm>
          <a:prstGeom prst="flowChartConnector">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5" name="Textfeld 24">
            <a:extLst>
              <a:ext uri="{FF2B5EF4-FFF2-40B4-BE49-F238E27FC236}">
                <a16:creationId xmlns:a16="http://schemas.microsoft.com/office/drawing/2014/main" id="{F99478E9-3556-4875-8B81-42F5D4C71BA1}"/>
              </a:ext>
            </a:extLst>
          </p:cNvPr>
          <p:cNvSpPr txBox="1"/>
          <p:nvPr/>
        </p:nvSpPr>
        <p:spPr>
          <a:xfrm rot="18360000">
            <a:off x="2454362" y="2338379"/>
            <a:ext cx="1535767" cy="246221"/>
          </a:xfrm>
          <a:prstGeom prst="rect">
            <a:avLst/>
          </a:prstGeom>
          <a:noFill/>
          <a:ln w="6350">
            <a:noFill/>
          </a:ln>
        </p:spPr>
        <p:txBody>
          <a:bodyPr wrap="square">
            <a:spAutoFit/>
          </a:bodyPr>
          <a:lstStyle/>
          <a:p>
            <a:r>
              <a:rPr lang="en-US" sz="1000" dirty="0">
                <a:solidFill>
                  <a:schemeClr val="accent1"/>
                </a:solidFill>
              </a:rPr>
              <a:t>Develop new feature</a:t>
            </a:r>
          </a:p>
        </p:txBody>
      </p:sp>
      <p:sp>
        <p:nvSpPr>
          <p:cNvPr id="27" name="Textfeld 26">
            <a:extLst>
              <a:ext uri="{FF2B5EF4-FFF2-40B4-BE49-F238E27FC236}">
                <a16:creationId xmlns:a16="http://schemas.microsoft.com/office/drawing/2014/main" id="{77C2832E-C76D-48FF-BF3C-08B8109A5C45}"/>
              </a:ext>
            </a:extLst>
          </p:cNvPr>
          <p:cNvSpPr txBox="1"/>
          <p:nvPr/>
        </p:nvSpPr>
        <p:spPr>
          <a:xfrm rot="18333639">
            <a:off x="2799219" y="3979539"/>
            <a:ext cx="1080614" cy="246221"/>
          </a:xfrm>
          <a:prstGeom prst="rect">
            <a:avLst/>
          </a:prstGeom>
          <a:noFill/>
          <a:ln w="6350">
            <a:noFill/>
          </a:ln>
        </p:spPr>
        <p:txBody>
          <a:bodyPr wrap="square">
            <a:spAutoFit/>
          </a:bodyPr>
          <a:lstStyle/>
          <a:p>
            <a:r>
              <a:rPr lang="en-US" sz="1000" dirty="0">
                <a:solidFill>
                  <a:schemeClr val="accent1"/>
                </a:solidFill>
              </a:rPr>
              <a:t>Develop hot fix</a:t>
            </a:r>
          </a:p>
        </p:txBody>
      </p:sp>
      <p:sp>
        <p:nvSpPr>
          <p:cNvPr id="28" name="Flussdiagramm: Verbinder 27">
            <a:extLst>
              <a:ext uri="{FF2B5EF4-FFF2-40B4-BE49-F238E27FC236}">
                <a16:creationId xmlns:a16="http://schemas.microsoft.com/office/drawing/2014/main" id="{E50E6882-07D4-4474-B07C-304CFB8815D0}"/>
              </a:ext>
            </a:extLst>
          </p:cNvPr>
          <p:cNvSpPr/>
          <p:nvPr/>
        </p:nvSpPr>
        <p:spPr>
          <a:xfrm>
            <a:off x="5011613" y="3628635"/>
            <a:ext cx="72000" cy="72000"/>
          </a:xfrm>
          <a:prstGeom prst="flowChartConnector">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9" name="Textfeld 28">
            <a:extLst>
              <a:ext uri="{FF2B5EF4-FFF2-40B4-BE49-F238E27FC236}">
                <a16:creationId xmlns:a16="http://schemas.microsoft.com/office/drawing/2014/main" id="{9BA70405-495B-41E0-9E74-D0291235F9A0}"/>
              </a:ext>
            </a:extLst>
          </p:cNvPr>
          <p:cNvSpPr txBox="1"/>
          <p:nvPr/>
        </p:nvSpPr>
        <p:spPr>
          <a:xfrm rot="18333639">
            <a:off x="4156308" y="4011837"/>
            <a:ext cx="1160018" cy="246221"/>
          </a:xfrm>
          <a:prstGeom prst="rect">
            <a:avLst/>
          </a:prstGeom>
          <a:noFill/>
          <a:ln w="6350">
            <a:noFill/>
          </a:ln>
        </p:spPr>
        <p:txBody>
          <a:bodyPr wrap="square">
            <a:spAutoFit/>
          </a:bodyPr>
          <a:lstStyle/>
          <a:p>
            <a:r>
              <a:rPr lang="en-US" sz="1000" dirty="0">
                <a:solidFill>
                  <a:schemeClr val="accent1"/>
                </a:solidFill>
              </a:rPr>
              <a:t>Merge changes</a:t>
            </a:r>
          </a:p>
        </p:txBody>
      </p:sp>
      <p:sp>
        <p:nvSpPr>
          <p:cNvPr id="30" name="Pfeil: nach unten 29">
            <a:extLst>
              <a:ext uri="{FF2B5EF4-FFF2-40B4-BE49-F238E27FC236}">
                <a16:creationId xmlns:a16="http://schemas.microsoft.com/office/drawing/2014/main" id="{D61CBED1-0891-4A50-8E21-F725E6A7B028}"/>
              </a:ext>
            </a:extLst>
          </p:cNvPr>
          <p:cNvSpPr/>
          <p:nvPr/>
        </p:nvSpPr>
        <p:spPr>
          <a:xfrm rot="10800000">
            <a:off x="4209219" y="3600499"/>
            <a:ext cx="105507" cy="110282"/>
          </a:xfrm>
          <a:prstGeom prst="downArrow">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32" name="Textfeld 31">
            <a:extLst>
              <a:ext uri="{FF2B5EF4-FFF2-40B4-BE49-F238E27FC236}">
                <a16:creationId xmlns:a16="http://schemas.microsoft.com/office/drawing/2014/main" id="{7C595484-E995-463C-AECB-5479BE2EA1B0}"/>
              </a:ext>
            </a:extLst>
          </p:cNvPr>
          <p:cNvSpPr txBox="1"/>
          <p:nvPr/>
        </p:nvSpPr>
        <p:spPr>
          <a:xfrm rot="18333639">
            <a:off x="3420207" y="4049990"/>
            <a:ext cx="1117421" cy="246221"/>
          </a:xfrm>
          <a:prstGeom prst="rect">
            <a:avLst/>
          </a:prstGeom>
          <a:noFill/>
          <a:ln w="6350">
            <a:noFill/>
          </a:ln>
        </p:spPr>
        <p:txBody>
          <a:bodyPr wrap="square">
            <a:spAutoFit/>
          </a:bodyPr>
          <a:lstStyle/>
          <a:p>
            <a:r>
              <a:rPr lang="en-US" sz="1000" dirty="0">
                <a:solidFill>
                  <a:schemeClr val="accent1"/>
                </a:solidFill>
              </a:rPr>
              <a:t>Deploy in PROD</a:t>
            </a:r>
          </a:p>
        </p:txBody>
      </p:sp>
      <p:sp>
        <p:nvSpPr>
          <p:cNvPr id="33" name="Pfeil: nach unten 32">
            <a:extLst>
              <a:ext uri="{FF2B5EF4-FFF2-40B4-BE49-F238E27FC236}">
                <a16:creationId xmlns:a16="http://schemas.microsoft.com/office/drawing/2014/main" id="{E47BC7E6-976F-4A83-8912-782F0CA42C71}"/>
              </a:ext>
            </a:extLst>
          </p:cNvPr>
          <p:cNvSpPr/>
          <p:nvPr/>
        </p:nvSpPr>
        <p:spPr>
          <a:xfrm rot="10800000">
            <a:off x="3404696" y="3035423"/>
            <a:ext cx="105507" cy="110282"/>
          </a:xfrm>
          <a:prstGeom prst="downArrow">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34" name="Textfeld 33">
            <a:extLst>
              <a:ext uri="{FF2B5EF4-FFF2-40B4-BE49-F238E27FC236}">
                <a16:creationId xmlns:a16="http://schemas.microsoft.com/office/drawing/2014/main" id="{CB3213B7-9E2F-4D99-8C97-DE67DEB5C6CB}"/>
              </a:ext>
            </a:extLst>
          </p:cNvPr>
          <p:cNvSpPr txBox="1"/>
          <p:nvPr/>
        </p:nvSpPr>
        <p:spPr>
          <a:xfrm rot="18360000">
            <a:off x="3152641" y="2273607"/>
            <a:ext cx="1488288" cy="400110"/>
          </a:xfrm>
          <a:prstGeom prst="rect">
            <a:avLst/>
          </a:prstGeom>
          <a:noFill/>
          <a:ln w="6350">
            <a:noFill/>
          </a:ln>
        </p:spPr>
        <p:txBody>
          <a:bodyPr wrap="square">
            <a:spAutoFit/>
          </a:bodyPr>
          <a:lstStyle/>
          <a:p>
            <a:r>
              <a:rPr lang="en-US" sz="1000" dirty="0">
                <a:solidFill>
                  <a:schemeClr val="accent1"/>
                </a:solidFill>
              </a:rPr>
              <a:t>Deploy and test in DEV / STAGE</a:t>
            </a:r>
          </a:p>
        </p:txBody>
      </p:sp>
      <p:cxnSp>
        <p:nvCxnSpPr>
          <p:cNvPr id="35" name="Gerade Verbindung mit Pfeil 34">
            <a:extLst>
              <a:ext uri="{FF2B5EF4-FFF2-40B4-BE49-F238E27FC236}">
                <a16:creationId xmlns:a16="http://schemas.microsoft.com/office/drawing/2014/main" id="{689D4216-FA2A-4B5B-9031-F289F74DABF2}"/>
              </a:ext>
            </a:extLst>
          </p:cNvPr>
          <p:cNvCxnSpPr>
            <a:cxnSpLocks/>
          </p:cNvCxnSpPr>
          <p:nvPr/>
        </p:nvCxnSpPr>
        <p:spPr>
          <a:xfrm flipV="1">
            <a:off x="5048230" y="3107532"/>
            <a:ext cx="434822" cy="5555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Flussdiagramm: Verbinder 42">
            <a:extLst>
              <a:ext uri="{FF2B5EF4-FFF2-40B4-BE49-F238E27FC236}">
                <a16:creationId xmlns:a16="http://schemas.microsoft.com/office/drawing/2014/main" id="{F7904B19-F96A-4147-A635-2727AC82A321}"/>
              </a:ext>
            </a:extLst>
          </p:cNvPr>
          <p:cNvSpPr/>
          <p:nvPr/>
        </p:nvSpPr>
        <p:spPr>
          <a:xfrm>
            <a:off x="6170456" y="3071531"/>
            <a:ext cx="72000" cy="72000"/>
          </a:xfrm>
          <a:prstGeom prst="flowChartConnector">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44" name="Textfeld 43">
            <a:extLst>
              <a:ext uri="{FF2B5EF4-FFF2-40B4-BE49-F238E27FC236}">
                <a16:creationId xmlns:a16="http://schemas.microsoft.com/office/drawing/2014/main" id="{9F743773-36E6-40B8-AA29-A0992582C767}"/>
              </a:ext>
            </a:extLst>
          </p:cNvPr>
          <p:cNvSpPr txBox="1"/>
          <p:nvPr/>
        </p:nvSpPr>
        <p:spPr>
          <a:xfrm rot="18360000">
            <a:off x="6055423" y="2592279"/>
            <a:ext cx="908088" cy="246221"/>
          </a:xfrm>
          <a:prstGeom prst="rect">
            <a:avLst/>
          </a:prstGeom>
          <a:noFill/>
          <a:ln w="6350">
            <a:noFill/>
          </a:ln>
        </p:spPr>
        <p:txBody>
          <a:bodyPr wrap="square">
            <a:spAutoFit/>
          </a:bodyPr>
          <a:lstStyle/>
          <a:p>
            <a:r>
              <a:rPr lang="en-US" sz="1000" dirty="0">
                <a:solidFill>
                  <a:schemeClr val="accent1"/>
                </a:solidFill>
              </a:rPr>
              <a:t>Pull request</a:t>
            </a:r>
          </a:p>
        </p:txBody>
      </p:sp>
    </p:spTree>
    <p:extLst>
      <p:ext uri="{BB962C8B-B14F-4D97-AF65-F5344CB8AC3E}">
        <p14:creationId xmlns:p14="http://schemas.microsoft.com/office/powerpoint/2010/main" val="359091236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Build Results Can Be Stored in Artifactory</a:t>
            </a:r>
          </a:p>
        </p:txBody>
      </p:sp>
      <p:sp>
        <p:nvSpPr>
          <p:cNvPr id="2" name="Fußzeilenplatzhalter 1">
            <a:extLst>
              <a:ext uri="{FF2B5EF4-FFF2-40B4-BE49-F238E27FC236}">
                <a16:creationId xmlns:a16="http://schemas.microsoft.com/office/drawing/2014/main" id="{A581F773-50C6-4201-AA77-159D242326AB}"/>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5</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For a centralized overview of all assets deployed</a:t>
            </a:r>
          </a:p>
        </p:txBody>
      </p:sp>
      <p:pic>
        <p:nvPicPr>
          <p:cNvPr id="11" name="Inhaltsplatzhalter 13">
            <a:extLst>
              <a:ext uri="{FF2B5EF4-FFF2-40B4-BE49-F238E27FC236}">
                <a16:creationId xmlns:a16="http://schemas.microsoft.com/office/drawing/2014/main" id="{667F02FD-7D0C-4E03-B0F4-3A33339291AE}"/>
              </a:ext>
            </a:extLst>
          </p:cNvPr>
          <p:cNvPicPr>
            <a:picLocks noChangeAspect="1"/>
          </p:cNvPicPr>
          <p:nvPr/>
        </p:nvPicPr>
        <p:blipFill>
          <a:blip r:embed="rId3"/>
          <a:stretch>
            <a:fillRect/>
          </a:stretch>
        </p:blipFill>
        <p:spPr>
          <a:xfrm>
            <a:off x="1363886" y="1041400"/>
            <a:ext cx="6416229" cy="3498850"/>
          </a:xfrm>
          <a:prstGeom prst="rect">
            <a:avLst/>
          </a:prstGeom>
        </p:spPr>
      </p:pic>
    </p:spTree>
    <p:extLst>
      <p:ext uri="{BB962C8B-B14F-4D97-AF65-F5344CB8AC3E}">
        <p14:creationId xmlns:p14="http://schemas.microsoft.com/office/powerpoint/2010/main" val="387669101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Mark APIs as Internal or External</a:t>
            </a:r>
          </a:p>
        </p:txBody>
      </p:sp>
      <p:sp>
        <p:nvSpPr>
          <p:cNvPr id="2" name="Fußzeilenplatzhalter 1">
            <a:extLst>
              <a:ext uri="{FF2B5EF4-FFF2-40B4-BE49-F238E27FC236}">
                <a16:creationId xmlns:a16="http://schemas.microsoft.com/office/drawing/2014/main" id="{B13FDCCC-FEC3-4900-8BA1-A8B99151C844}"/>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6</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Enforce deployment only on internal or external API Gateway instances</a:t>
            </a:r>
          </a:p>
        </p:txBody>
      </p:sp>
      <p:pic>
        <p:nvPicPr>
          <p:cNvPr id="11" name="Inhaltsplatzhalter 11">
            <a:extLst>
              <a:ext uri="{FF2B5EF4-FFF2-40B4-BE49-F238E27FC236}">
                <a16:creationId xmlns:a16="http://schemas.microsoft.com/office/drawing/2014/main" id="{83EF0507-7B69-45E1-B3ED-5A88C87A77CA}"/>
              </a:ext>
            </a:extLst>
          </p:cNvPr>
          <p:cNvPicPr>
            <a:picLocks noChangeAspect="1"/>
          </p:cNvPicPr>
          <p:nvPr/>
        </p:nvPicPr>
        <p:blipFill>
          <a:blip r:embed="rId3"/>
          <a:stretch>
            <a:fillRect/>
          </a:stretch>
        </p:blipFill>
        <p:spPr>
          <a:xfrm>
            <a:off x="215900" y="1041400"/>
            <a:ext cx="4514506" cy="3498850"/>
          </a:xfrm>
          <a:prstGeom prst="rect">
            <a:avLst/>
          </a:prstGeom>
          <a:ln>
            <a:solidFill>
              <a:schemeClr val="accent1"/>
            </a:solidFill>
          </a:ln>
        </p:spPr>
      </p:pic>
      <p:sp>
        <p:nvSpPr>
          <p:cNvPr id="15" name="Sprechblase: rechteckig 14">
            <a:extLst>
              <a:ext uri="{FF2B5EF4-FFF2-40B4-BE49-F238E27FC236}">
                <a16:creationId xmlns:a16="http://schemas.microsoft.com/office/drawing/2014/main" id="{357CF3FF-359D-48CE-BCC6-5035EA69FA71}"/>
              </a:ext>
            </a:extLst>
          </p:cNvPr>
          <p:cNvSpPr/>
          <p:nvPr/>
        </p:nvSpPr>
        <p:spPr>
          <a:xfrm>
            <a:off x="4944793" y="2391508"/>
            <a:ext cx="3488787" cy="640080"/>
          </a:xfrm>
          <a:prstGeom prst="wedgeRectCallout">
            <a:avLst>
              <a:gd name="adj1" fmla="val -79624"/>
              <a:gd name="adj2" fmla="val 47204"/>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en-US" sz="1400" dirty="0">
                <a:solidFill>
                  <a:schemeClr val="bg1"/>
                </a:solidFill>
              </a:rPr>
              <a:t>API can be deployed on DEV_INT, STAGE_INT and PROD_INT</a:t>
            </a:r>
          </a:p>
        </p:txBody>
      </p:sp>
      <p:sp>
        <p:nvSpPr>
          <p:cNvPr id="16" name="Sprechblase: rechteckig 15">
            <a:extLst>
              <a:ext uri="{FF2B5EF4-FFF2-40B4-BE49-F238E27FC236}">
                <a16:creationId xmlns:a16="http://schemas.microsoft.com/office/drawing/2014/main" id="{8CDA0F25-D822-44CA-85E3-8929A73BEB74}"/>
              </a:ext>
            </a:extLst>
          </p:cNvPr>
          <p:cNvSpPr/>
          <p:nvPr/>
        </p:nvSpPr>
        <p:spPr>
          <a:xfrm>
            <a:off x="4944793" y="3254326"/>
            <a:ext cx="3488787" cy="640080"/>
          </a:xfrm>
          <a:prstGeom prst="wedgeRectCallout">
            <a:avLst>
              <a:gd name="adj1" fmla="val -79019"/>
              <a:gd name="adj2" fmla="val -54994"/>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en-US" sz="1400" dirty="0">
                <a:solidFill>
                  <a:schemeClr val="bg1"/>
                </a:solidFill>
              </a:rPr>
              <a:t>API can be deployed on DEV_EXT, STAGE_EXT and PROD_EXT</a:t>
            </a:r>
          </a:p>
        </p:txBody>
      </p:sp>
    </p:spTree>
    <p:extLst>
      <p:ext uri="{BB962C8B-B14F-4D97-AF65-F5344CB8AC3E}">
        <p14:creationId xmlns:p14="http://schemas.microsoft.com/office/powerpoint/2010/main" val="395486183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Management of Alias Values Across Stages – All in One Place</a:t>
            </a:r>
          </a:p>
        </p:txBody>
      </p:sp>
      <p:sp>
        <p:nvSpPr>
          <p:cNvPr id="2" name="Fußzeilenplatzhalter 1">
            <a:extLst>
              <a:ext uri="{FF2B5EF4-FFF2-40B4-BE49-F238E27FC236}">
                <a16:creationId xmlns:a16="http://schemas.microsoft.com/office/drawing/2014/main" id="{48EAE544-0542-4C36-86CA-4EDB15EA4408}"/>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7</a:t>
            </a:fld>
            <a:endParaRPr lang="en-US" dirty="0"/>
          </a:p>
        </p:txBody>
      </p:sp>
      <p:sp>
        <p:nvSpPr>
          <p:cNvPr id="13" name="Untertitel 9">
            <a:extLst>
              <a:ext uri="{FF2B5EF4-FFF2-40B4-BE49-F238E27FC236}">
                <a16:creationId xmlns:a16="http://schemas.microsoft.com/office/drawing/2014/main" id="{643A904A-002F-4BAC-B8AF-0995B9239451}"/>
              </a:ext>
            </a:extLst>
          </p:cNvPr>
          <p:cNvSpPr>
            <a:spLocks noGrp="1"/>
          </p:cNvSpPr>
          <p:nvPr>
            <p:ph type="body" sz="quarter" idx="13"/>
          </p:nvPr>
        </p:nvSpPr>
        <p:spPr/>
        <p:txBody>
          <a:bodyPr/>
          <a:lstStyle/>
          <a:p>
            <a:r>
              <a:rPr lang="en-US" dirty="0"/>
              <a:t>Based on aliases.json repository files</a:t>
            </a:r>
          </a:p>
        </p:txBody>
      </p:sp>
      <p:pic>
        <p:nvPicPr>
          <p:cNvPr id="5" name="Picture 4">
            <a:extLst>
              <a:ext uri="{FF2B5EF4-FFF2-40B4-BE49-F238E27FC236}">
                <a16:creationId xmlns:a16="http://schemas.microsoft.com/office/drawing/2014/main" id="{29C728B9-BD03-B611-BDBC-EB2D87735CCA}"/>
              </a:ext>
            </a:extLst>
          </p:cNvPr>
          <p:cNvPicPr>
            <a:picLocks noChangeAspect="1"/>
          </p:cNvPicPr>
          <p:nvPr/>
        </p:nvPicPr>
        <p:blipFill>
          <a:blip r:embed="rId9"/>
          <a:srcRect/>
          <a:stretch/>
        </p:blipFill>
        <p:spPr>
          <a:xfrm>
            <a:off x="1318187" y="1166813"/>
            <a:ext cx="1802697" cy="3557956"/>
          </a:xfrm>
          <a:prstGeom prst="rect">
            <a:avLst/>
          </a:prstGeom>
        </p:spPr>
      </p:pic>
      <p:sp>
        <p:nvSpPr>
          <p:cNvPr id="6" name="Gleichschenkliges Dreieck 15">
            <a:extLst>
              <a:ext uri="{FF2B5EF4-FFF2-40B4-BE49-F238E27FC236}">
                <a16:creationId xmlns:a16="http://schemas.microsoft.com/office/drawing/2014/main" id="{7C7C805B-1132-6139-6208-7966192AB748}"/>
              </a:ext>
            </a:extLst>
          </p:cNvPr>
          <p:cNvSpPr/>
          <p:nvPr>
            <p:custDataLst>
              <p:tags r:id="rId1"/>
            </p:custDataLst>
          </p:nvPr>
        </p:nvSpPr>
        <p:spPr>
          <a:xfrm rot="16200000">
            <a:off x="3591012" y="2952297"/>
            <a:ext cx="307776" cy="1480886"/>
          </a:xfrm>
          <a:prstGeom prst="triangle">
            <a:avLst>
              <a:gd name="adj" fmla="val 73084"/>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8" name="Textfeld 12">
            <a:extLst>
              <a:ext uri="{FF2B5EF4-FFF2-40B4-BE49-F238E27FC236}">
                <a16:creationId xmlns:a16="http://schemas.microsoft.com/office/drawing/2014/main" id="{DC45F0CC-CD65-1CFA-2CF2-7F45A65C62E8}"/>
              </a:ext>
            </a:extLst>
          </p:cNvPr>
          <p:cNvSpPr txBox="1"/>
          <p:nvPr>
            <p:custDataLst>
              <p:tags r:id="rId2"/>
            </p:custDataLst>
          </p:nvPr>
        </p:nvSpPr>
        <p:spPr>
          <a:xfrm>
            <a:off x="4485343" y="1293133"/>
            <a:ext cx="2967317" cy="307777"/>
          </a:xfrm>
          <a:prstGeom prst="rect">
            <a:avLst/>
          </a:prstGeom>
          <a:noFill/>
          <a:ln w="6350">
            <a:solidFill>
              <a:schemeClr val="accent1"/>
            </a:solidFill>
          </a:ln>
        </p:spPr>
        <p:txBody>
          <a:bodyPr wrap="square">
            <a:spAutoFit/>
          </a:bodyPr>
          <a:lstStyle/>
          <a:p>
            <a:r>
              <a:rPr lang="en-US" dirty="0"/>
              <a:t>Alias configuration for DEV_EXT</a:t>
            </a:r>
          </a:p>
        </p:txBody>
      </p:sp>
      <p:sp>
        <p:nvSpPr>
          <p:cNvPr id="10" name="Textfeld 12">
            <a:extLst>
              <a:ext uri="{FF2B5EF4-FFF2-40B4-BE49-F238E27FC236}">
                <a16:creationId xmlns:a16="http://schemas.microsoft.com/office/drawing/2014/main" id="{4143F86F-671C-21A9-F6E9-6066F9B91F27}"/>
              </a:ext>
            </a:extLst>
          </p:cNvPr>
          <p:cNvSpPr txBox="1"/>
          <p:nvPr>
            <p:custDataLst>
              <p:tags r:id="rId3"/>
            </p:custDataLst>
          </p:nvPr>
        </p:nvSpPr>
        <p:spPr>
          <a:xfrm>
            <a:off x="4485343" y="2389283"/>
            <a:ext cx="2967317" cy="307777"/>
          </a:xfrm>
          <a:prstGeom prst="rect">
            <a:avLst/>
          </a:prstGeom>
          <a:noFill/>
          <a:ln w="6350">
            <a:solidFill>
              <a:schemeClr val="accent1"/>
            </a:solidFill>
          </a:ln>
        </p:spPr>
        <p:txBody>
          <a:bodyPr wrap="square">
            <a:spAutoFit/>
          </a:bodyPr>
          <a:lstStyle/>
          <a:p>
            <a:r>
              <a:rPr lang="en-US" dirty="0"/>
              <a:t>Alias configuration for TEST_EXT</a:t>
            </a:r>
          </a:p>
        </p:txBody>
      </p:sp>
      <p:sp>
        <p:nvSpPr>
          <p:cNvPr id="11" name="Textfeld 12">
            <a:extLst>
              <a:ext uri="{FF2B5EF4-FFF2-40B4-BE49-F238E27FC236}">
                <a16:creationId xmlns:a16="http://schemas.microsoft.com/office/drawing/2014/main" id="{5241521C-460D-8DB5-F80F-71F696AC81B4}"/>
              </a:ext>
            </a:extLst>
          </p:cNvPr>
          <p:cNvSpPr txBox="1"/>
          <p:nvPr>
            <p:custDataLst>
              <p:tags r:id="rId4"/>
            </p:custDataLst>
          </p:nvPr>
        </p:nvSpPr>
        <p:spPr>
          <a:xfrm>
            <a:off x="4485343" y="3538851"/>
            <a:ext cx="2967317" cy="307777"/>
          </a:xfrm>
          <a:prstGeom prst="rect">
            <a:avLst/>
          </a:prstGeom>
          <a:noFill/>
          <a:ln w="6350">
            <a:solidFill>
              <a:schemeClr val="accent1"/>
            </a:solidFill>
          </a:ln>
        </p:spPr>
        <p:txBody>
          <a:bodyPr wrap="square">
            <a:spAutoFit/>
          </a:bodyPr>
          <a:lstStyle/>
          <a:p>
            <a:r>
              <a:rPr lang="en-US" dirty="0"/>
              <a:t>Alias configuration for PROD_EXT</a:t>
            </a:r>
          </a:p>
        </p:txBody>
      </p:sp>
      <p:sp>
        <p:nvSpPr>
          <p:cNvPr id="12" name="Gleichschenkliges Dreieck 15">
            <a:extLst>
              <a:ext uri="{FF2B5EF4-FFF2-40B4-BE49-F238E27FC236}">
                <a16:creationId xmlns:a16="http://schemas.microsoft.com/office/drawing/2014/main" id="{F31DF4EC-F6A7-7FB6-1AD5-A7773D8C0383}"/>
              </a:ext>
            </a:extLst>
          </p:cNvPr>
          <p:cNvSpPr/>
          <p:nvPr>
            <p:custDataLst>
              <p:tags r:id="rId5"/>
            </p:custDataLst>
          </p:nvPr>
        </p:nvSpPr>
        <p:spPr>
          <a:xfrm rot="16200000">
            <a:off x="3591012" y="1812391"/>
            <a:ext cx="307776" cy="1480886"/>
          </a:xfrm>
          <a:prstGeom prst="triangle">
            <a:avLst>
              <a:gd name="adj" fmla="val 45333"/>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15" name="Gleichschenkliges Dreieck 15">
            <a:extLst>
              <a:ext uri="{FF2B5EF4-FFF2-40B4-BE49-F238E27FC236}">
                <a16:creationId xmlns:a16="http://schemas.microsoft.com/office/drawing/2014/main" id="{46E7F9D7-B283-2473-70A8-91C3643CA3B6}"/>
              </a:ext>
            </a:extLst>
          </p:cNvPr>
          <p:cNvSpPr/>
          <p:nvPr>
            <p:custDataLst>
              <p:tags r:id="rId6"/>
            </p:custDataLst>
          </p:nvPr>
        </p:nvSpPr>
        <p:spPr>
          <a:xfrm rot="16200000">
            <a:off x="3591012" y="706579"/>
            <a:ext cx="307776" cy="1480886"/>
          </a:xfrm>
          <a:prstGeom prst="triangle">
            <a:avLst>
              <a:gd name="adj" fmla="val 27751"/>
            </a:avLst>
          </a:prstGeom>
          <a:solidFill>
            <a:schemeClr val="accent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20352645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1" grpId="0" animBg="1"/>
      <p:bldP spid="12" grpId="0" animBg="1"/>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Placeholder Values Can Be Overwritten Using Pipeline Variables</a:t>
            </a:r>
          </a:p>
        </p:txBody>
      </p:sp>
      <p:sp>
        <p:nvSpPr>
          <p:cNvPr id="2" name="Fußzeilenplatzhalter 1">
            <a:extLst>
              <a:ext uri="{FF2B5EF4-FFF2-40B4-BE49-F238E27FC236}">
                <a16:creationId xmlns:a16="http://schemas.microsoft.com/office/drawing/2014/main" id="{48EAE544-0542-4C36-86CA-4EDB15EA4408}"/>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28</a:t>
            </a:fld>
            <a:endParaRPr lang="en-US" dirty="0"/>
          </a:p>
        </p:txBody>
      </p:sp>
      <p:sp>
        <p:nvSpPr>
          <p:cNvPr id="13" name="Untertitel 9">
            <a:extLst>
              <a:ext uri="{FF2B5EF4-FFF2-40B4-BE49-F238E27FC236}">
                <a16:creationId xmlns:a16="http://schemas.microsoft.com/office/drawing/2014/main" id="{643A904A-002F-4BAC-B8AF-0995B9239451}"/>
              </a:ext>
            </a:extLst>
          </p:cNvPr>
          <p:cNvSpPr>
            <a:spLocks noGrp="1"/>
          </p:cNvSpPr>
          <p:nvPr>
            <p:ph type="body" sz="quarter" idx="13"/>
          </p:nvPr>
        </p:nvSpPr>
        <p:spPr/>
        <p:txBody>
          <a:bodyPr/>
          <a:lstStyle/>
          <a:p>
            <a:r>
              <a:rPr lang="en-US" dirty="0"/>
              <a:t>Allows for ad-hoc, per-deployment stage-specific alias values</a:t>
            </a:r>
          </a:p>
        </p:txBody>
      </p:sp>
      <p:pic>
        <p:nvPicPr>
          <p:cNvPr id="7" name="Picture 6">
            <a:extLst>
              <a:ext uri="{FF2B5EF4-FFF2-40B4-BE49-F238E27FC236}">
                <a16:creationId xmlns:a16="http://schemas.microsoft.com/office/drawing/2014/main" id="{4F32D920-47EF-DD8F-1DC4-B3BEEC9B9DC9}"/>
              </a:ext>
            </a:extLst>
          </p:cNvPr>
          <p:cNvPicPr>
            <a:picLocks noChangeAspect="1"/>
          </p:cNvPicPr>
          <p:nvPr/>
        </p:nvPicPr>
        <p:blipFill>
          <a:blip r:embed="rId7"/>
          <a:stretch>
            <a:fillRect/>
          </a:stretch>
        </p:blipFill>
        <p:spPr>
          <a:xfrm>
            <a:off x="4387850" y="1633537"/>
            <a:ext cx="4343400" cy="2366963"/>
          </a:xfrm>
          <a:prstGeom prst="rect">
            <a:avLst/>
          </a:prstGeom>
          <a:ln>
            <a:solidFill>
              <a:schemeClr val="accent1"/>
            </a:solidFill>
          </a:ln>
        </p:spPr>
      </p:pic>
      <p:pic>
        <p:nvPicPr>
          <p:cNvPr id="16" name="Picture 15">
            <a:extLst>
              <a:ext uri="{FF2B5EF4-FFF2-40B4-BE49-F238E27FC236}">
                <a16:creationId xmlns:a16="http://schemas.microsoft.com/office/drawing/2014/main" id="{402BF46A-3E39-9317-9A9B-319E7F8BD921}"/>
              </a:ext>
            </a:extLst>
          </p:cNvPr>
          <p:cNvPicPr>
            <a:picLocks noChangeAspect="1"/>
          </p:cNvPicPr>
          <p:nvPr/>
        </p:nvPicPr>
        <p:blipFill>
          <a:blip r:embed="rId8"/>
          <a:stretch>
            <a:fillRect/>
          </a:stretch>
        </p:blipFill>
        <p:spPr>
          <a:xfrm>
            <a:off x="374212" y="1633537"/>
            <a:ext cx="3414713" cy="2686050"/>
          </a:xfrm>
          <a:prstGeom prst="rect">
            <a:avLst/>
          </a:prstGeom>
          <a:ln>
            <a:solidFill>
              <a:schemeClr val="accent1"/>
            </a:solidFill>
          </a:ln>
        </p:spPr>
      </p:pic>
      <p:sp>
        <p:nvSpPr>
          <p:cNvPr id="17" name="Rectangle 16">
            <a:extLst>
              <a:ext uri="{FF2B5EF4-FFF2-40B4-BE49-F238E27FC236}">
                <a16:creationId xmlns:a16="http://schemas.microsoft.com/office/drawing/2014/main" id="{C7A03EF4-BC06-4D87-6447-9A89F350729F}"/>
              </a:ext>
            </a:extLst>
          </p:cNvPr>
          <p:cNvSpPr/>
          <p:nvPr>
            <p:custDataLst>
              <p:tags r:id="rId1"/>
            </p:custDataLst>
          </p:nvPr>
        </p:nvSpPr>
        <p:spPr>
          <a:xfrm flipV="1">
            <a:off x="2526864" y="3501460"/>
            <a:ext cx="1097399" cy="161035"/>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18" name="Rectangle 17">
            <a:extLst>
              <a:ext uri="{FF2B5EF4-FFF2-40B4-BE49-F238E27FC236}">
                <a16:creationId xmlns:a16="http://schemas.microsoft.com/office/drawing/2014/main" id="{002063B5-F779-A447-C188-596974296A44}"/>
              </a:ext>
            </a:extLst>
          </p:cNvPr>
          <p:cNvSpPr/>
          <p:nvPr>
            <p:custDataLst>
              <p:tags r:id="rId2"/>
            </p:custDataLst>
          </p:nvPr>
        </p:nvSpPr>
        <p:spPr>
          <a:xfrm flipV="1">
            <a:off x="2526864" y="4070293"/>
            <a:ext cx="373499" cy="161035"/>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cxnSp>
        <p:nvCxnSpPr>
          <p:cNvPr id="20" name="Straight Arrow Connector 19">
            <a:extLst>
              <a:ext uri="{FF2B5EF4-FFF2-40B4-BE49-F238E27FC236}">
                <a16:creationId xmlns:a16="http://schemas.microsoft.com/office/drawing/2014/main" id="{E7B013D3-91B5-1FC7-6614-723FF03B282B}"/>
              </a:ext>
            </a:extLst>
          </p:cNvPr>
          <p:cNvCxnSpPr>
            <a:cxnSpLocks/>
            <a:stCxn id="17" idx="3"/>
          </p:cNvCxnSpPr>
          <p:nvPr/>
        </p:nvCxnSpPr>
        <p:spPr>
          <a:xfrm>
            <a:off x="3624263" y="3581977"/>
            <a:ext cx="3648075" cy="254216"/>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6A705AE-98C8-8694-C7A2-71DD1AECEE57}"/>
              </a:ext>
            </a:extLst>
          </p:cNvPr>
          <p:cNvCxnSpPr>
            <a:cxnSpLocks/>
            <a:stCxn id="18" idx="3"/>
          </p:cNvCxnSpPr>
          <p:nvPr/>
        </p:nvCxnSpPr>
        <p:spPr>
          <a:xfrm flipV="1">
            <a:off x="2900363" y="3105150"/>
            <a:ext cx="4991100" cy="104566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CE3097A-0837-7BCF-2AE1-6AF903EEDEF6}"/>
              </a:ext>
            </a:extLst>
          </p:cNvPr>
          <p:cNvSpPr txBox="1"/>
          <p:nvPr>
            <p:custDataLst>
              <p:tags r:id="rId3"/>
            </p:custDataLst>
          </p:nvPr>
        </p:nvSpPr>
        <p:spPr>
          <a:xfrm>
            <a:off x="374212" y="1314450"/>
            <a:ext cx="3414713" cy="240609"/>
          </a:xfrm>
          <a:prstGeom prst="rect">
            <a:avLst/>
          </a:prstGeom>
          <a:ln w="6350">
            <a:noFill/>
          </a:ln>
        </p:spPr>
        <p:txBody>
          <a:bodyPr vert="horz" wrap="square" lIns="0" tIns="0" rIns="0" bIns="0" rtlCol="0">
            <a:noAutofit/>
          </a:bodyPr>
          <a:lstStyle/>
          <a:p>
            <a:pPr algn="l"/>
            <a:r>
              <a:rPr lang="en-US" u="sng" dirty="0"/>
              <a:t>Azure DevOps pipeline variable group</a:t>
            </a:r>
          </a:p>
        </p:txBody>
      </p:sp>
      <p:sp>
        <p:nvSpPr>
          <p:cNvPr id="28" name="TextBox 27">
            <a:extLst>
              <a:ext uri="{FF2B5EF4-FFF2-40B4-BE49-F238E27FC236}">
                <a16:creationId xmlns:a16="http://schemas.microsoft.com/office/drawing/2014/main" id="{FCFE9AFD-1F2E-D28E-EB46-A434E61BFC72}"/>
              </a:ext>
            </a:extLst>
          </p:cNvPr>
          <p:cNvSpPr txBox="1"/>
          <p:nvPr>
            <p:custDataLst>
              <p:tags r:id="rId4"/>
            </p:custDataLst>
          </p:nvPr>
        </p:nvSpPr>
        <p:spPr>
          <a:xfrm>
            <a:off x="4387850" y="1314450"/>
            <a:ext cx="3414713" cy="240609"/>
          </a:xfrm>
          <a:prstGeom prst="rect">
            <a:avLst/>
          </a:prstGeom>
          <a:ln w="6350">
            <a:noFill/>
          </a:ln>
        </p:spPr>
        <p:txBody>
          <a:bodyPr vert="horz" wrap="square" lIns="0" tIns="0" rIns="0" bIns="0" rtlCol="0">
            <a:noAutofit/>
          </a:bodyPr>
          <a:lstStyle/>
          <a:p>
            <a:pPr algn="l"/>
            <a:r>
              <a:rPr lang="en-US" u="sng" dirty="0"/>
              <a:t>API Gateway alias with placeholders</a:t>
            </a:r>
          </a:p>
        </p:txBody>
      </p:sp>
    </p:spTree>
    <p:extLst>
      <p:ext uri="{BB962C8B-B14F-4D97-AF65-F5344CB8AC3E}">
        <p14:creationId xmlns:p14="http://schemas.microsoft.com/office/powerpoint/2010/main" val="179283645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70AFF2-F7F1-45BB-B20D-CF5B886050C0}"/>
              </a:ext>
            </a:extLst>
          </p:cNvPr>
          <p:cNvSpPr>
            <a:spLocks noGrp="1"/>
          </p:cNvSpPr>
          <p:nvPr>
            <p:ph type="subTitle" sz="quarter" idx="1"/>
          </p:nvPr>
        </p:nvSpPr>
        <p:spPr/>
        <p:txBody>
          <a:bodyPr/>
          <a:lstStyle/>
          <a:p>
            <a:endParaRPr lang="de-DE" dirty="0"/>
          </a:p>
        </p:txBody>
      </p:sp>
      <p:sp>
        <p:nvSpPr>
          <p:cNvPr id="23" name="Footer Placeholder 22">
            <a:extLst>
              <a:ext uri="{FF2B5EF4-FFF2-40B4-BE49-F238E27FC236}">
                <a16:creationId xmlns:a16="http://schemas.microsoft.com/office/drawing/2014/main" id="{73126F4B-7F63-3BBF-391D-88CD3063A106}"/>
              </a:ext>
            </a:extLst>
          </p:cNvPr>
          <p:cNvSpPr>
            <a:spLocks noGrp="1"/>
          </p:cNvSpPr>
          <p:nvPr>
            <p:ph type="ftr" sz="quarter" idx="11"/>
          </p:nvPr>
        </p:nvSpPr>
        <p:spPr/>
        <p:txBody>
          <a:bodyPr/>
          <a:lstStyle/>
          <a:p>
            <a:r>
              <a:rPr lang="en-US"/>
              <a:t>© 2024 Software AG. All rights reserved. For internal use only and for Software AG Partners.</a:t>
            </a:r>
            <a:endParaRPr lang="en-US" dirty="0"/>
          </a:p>
        </p:txBody>
      </p:sp>
      <p:sp>
        <p:nvSpPr>
          <p:cNvPr id="27" name="Slide Number Placeholder 26">
            <a:extLst>
              <a:ext uri="{FF2B5EF4-FFF2-40B4-BE49-F238E27FC236}">
                <a16:creationId xmlns:a16="http://schemas.microsoft.com/office/drawing/2014/main" id="{4470923D-CA9D-5FFA-1411-22E71E34E986}"/>
              </a:ext>
            </a:extLst>
          </p:cNvPr>
          <p:cNvSpPr>
            <a:spLocks noGrp="1"/>
          </p:cNvSpPr>
          <p:nvPr>
            <p:ph type="sldNum" sz="quarter" idx="12"/>
          </p:nvPr>
        </p:nvSpPr>
        <p:spPr/>
        <p:txBody>
          <a:bodyPr/>
          <a:lstStyle/>
          <a:p>
            <a:fld id="{22FF84AA-2C76-4AF1-8502-73D25D47F37C}" type="slidenum">
              <a:rPr lang="en-US" smtClean="0"/>
              <a:pPr/>
              <a:t>29</a:t>
            </a:fld>
            <a:endParaRPr lang="en-US" dirty="0"/>
          </a:p>
        </p:txBody>
      </p:sp>
      <p:grpSp>
        <p:nvGrpSpPr>
          <p:cNvPr id="31" name="Group 30">
            <a:extLst>
              <a:ext uri="{FF2B5EF4-FFF2-40B4-BE49-F238E27FC236}">
                <a16:creationId xmlns:a16="http://schemas.microsoft.com/office/drawing/2014/main" id="{95F7BC08-9059-5879-D187-39690ABEF7C0}"/>
              </a:ext>
            </a:extLst>
          </p:cNvPr>
          <p:cNvGrpSpPr/>
          <p:nvPr>
            <p:custDataLst>
              <p:tags r:id="rId2"/>
            </p:custDataLst>
          </p:nvPr>
        </p:nvGrpSpPr>
        <p:grpSpPr>
          <a:xfrm>
            <a:off x="272026" y="1259794"/>
            <a:ext cx="6852048" cy="2041200"/>
            <a:chOff x="272026" y="1259794"/>
            <a:chExt cx="6852048" cy="2041200"/>
          </a:xfrm>
        </p:grpSpPr>
        <p:grpSp>
          <p:nvGrpSpPr>
            <p:cNvPr id="28" name="MIO_AGENDA_ELEMENT_DECORATOR_4">
              <a:extLst>
                <a:ext uri="{FF2B5EF4-FFF2-40B4-BE49-F238E27FC236}">
                  <a16:creationId xmlns:a16="http://schemas.microsoft.com/office/drawing/2014/main" id="{F6C87C0E-1651-4964-8214-4B8A6FB75CB9}"/>
                </a:ext>
              </a:extLst>
            </p:cNvPr>
            <p:cNvGrpSpPr/>
            <p:nvPr>
              <p:custDataLst>
                <p:tags r:id="rId4"/>
              </p:custDataLst>
            </p:nvPr>
          </p:nvGrpSpPr>
          <p:grpSpPr>
            <a:xfrm>
              <a:off x="272026" y="2790694"/>
              <a:ext cx="6852048" cy="510300"/>
              <a:chOff x="362701" y="1679725"/>
              <a:chExt cx="9136064" cy="680400"/>
            </a:xfrm>
          </p:grpSpPr>
          <p:cxnSp>
            <p:nvCxnSpPr>
              <p:cNvPr id="29" name="MIO_AGENDA_ELEMENT_DECORATOR_4">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MIO_AGENDA_ELEMENT_DECORATOR_4">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9" name="MIO_AGENDA_ELEMENT_DECORATOR_3">
              <a:extLst>
                <a:ext uri="{FF2B5EF4-FFF2-40B4-BE49-F238E27FC236}">
                  <a16:creationId xmlns:a16="http://schemas.microsoft.com/office/drawing/2014/main" id="{1A8D0AF9-D849-489E-955F-E4F60B6BF84B}"/>
                </a:ext>
              </a:extLst>
            </p:cNvPr>
            <p:cNvGrpSpPr/>
            <p:nvPr>
              <p:custDataLst>
                <p:tags r:id="rId5"/>
              </p:custDataLst>
            </p:nvPr>
          </p:nvGrpSpPr>
          <p:grpSpPr>
            <a:xfrm>
              <a:off x="272026" y="2280394"/>
              <a:ext cx="6852048" cy="510300"/>
              <a:chOff x="362701" y="2360125"/>
              <a:chExt cx="9136064" cy="680400"/>
            </a:xfrm>
          </p:grpSpPr>
          <p:sp>
            <p:nvSpPr>
              <p:cNvPr id="20" name="MIO_AGENDA_ELEMENT_DECORATOR_3">
                <a:extLst>
                  <a:ext uri="{FF2B5EF4-FFF2-40B4-BE49-F238E27FC236}">
                    <a16:creationId xmlns:a16="http://schemas.microsoft.com/office/drawing/2014/main" id="{DDFD1C8D-67FD-455B-9704-1CE16FFAA7A2}"/>
                  </a:ext>
                </a:extLst>
              </p:cNvPr>
              <p:cNvSpPr>
                <a:spLocks/>
              </p:cNvSpPr>
              <p:nvPr/>
            </p:nvSpPr>
            <p:spPr>
              <a:xfrm>
                <a:off x="362701" y="2360125"/>
                <a:ext cx="9136064" cy="680400"/>
              </a:xfrm>
              <a:prstGeom prst="rect">
                <a:avLst/>
              </a:prstGeom>
              <a:solidFill>
                <a:schemeClr val="accent1"/>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endParaRPr lang="de-DE" sz="1350" dirty="0">
                  <a:solidFill>
                    <a:schemeClr val="tx1"/>
                  </a:solidFill>
                </a:endParaRPr>
              </a:p>
            </p:txBody>
          </p:sp>
          <p:cxnSp>
            <p:nvCxnSpPr>
              <p:cNvPr id="21" name="MIO_AGENDA_ELEMENT_DECORATOR_3">
                <a:extLst>
                  <a:ext uri="{FF2B5EF4-FFF2-40B4-BE49-F238E27FC236}">
                    <a16:creationId xmlns:a16="http://schemas.microsoft.com/office/drawing/2014/main" id="{2FE8F699-9CAD-48EA-B487-78EB1D3307A8}"/>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MIO_AGENDA_ELEMENT_DECORATOR_3">
                <a:extLst>
                  <a:ext uri="{FF2B5EF4-FFF2-40B4-BE49-F238E27FC236}">
                    <a16:creationId xmlns:a16="http://schemas.microsoft.com/office/drawing/2014/main" id="{5E5E54F6-1EA0-4CBA-8FD9-A9BE679583B4}"/>
                  </a:ext>
                </a:extLst>
              </p:cNvPr>
              <p:cNvCxnSpPr>
                <a:cxnSpLocks/>
              </p:cNvCxnSpPr>
              <p:nvPr/>
            </p:nvCxnSpPr>
            <p:spPr>
              <a:xfrm>
                <a:off x="362701" y="30405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3" name="MIO_AGENDA_ELEMENT_DECORATOR_2">
              <a:extLst>
                <a:ext uri="{FF2B5EF4-FFF2-40B4-BE49-F238E27FC236}">
                  <a16:creationId xmlns:a16="http://schemas.microsoft.com/office/drawing/2014/main" id="{F6C87C0E-1651-4964-8214-4B8A6FB75CB9}"/>
                </a:ext>
              </a:extLst>
            </p:cNvPr>
            <p:cNvGrpSpPr/>
            <p:nvPr>
              <p:custDataLst>
                <p:tags r:id="rId6"/>
              </p:custDataLst>
            </p:nvPr>
          </p:nvGrpSpPr>
          <p:grpSpPr>
            <a:xfrm>
              <a:off x="272026" y="1770094"/>
              <a:ext cx="6852048" cy="510300"/>
              <a:chOff x="362701" y="1679725"/>
              <a:chExt cx="9136064" cy="680400"/>
            </a:xfrm>
          </p:grpSpPr>
          <p:cxnSp>
            <p:nvCxnSpPr>
              <p:cNvPr id="14" name="MIO_AGENDA_ELEMENT_DECORATOR_2">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MIO_AGENDA_ELEMENT_DECORATOR_2">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 name="MIO_AGENDA_ELEMENT_DECORATOR_1">
              <a:extLst>
                <a:ext uri="{FF2B5EF4-FFF2-40B4-BE49-F238E27FC236}">
                  <a16:creationId xmlns:a16="http://schemas.microsoft.com/office/drawing/2014/main" id="{F6C87C0E-1651-4964-8214-4B8A6FB75CB9}"/>
                </a:ext>
              </a:extLst>
            </p:cNvPr>
            <p:cNvGrpSpPr/>
            <p:nvPr>
              <p:custDataLst>
                <p:tags r:id="rId7"/>
              </p:custDataLst>
            </p:nvPr>
          </p:nvGrpSpPr>
          <p:grpSpPr>
            <a:xfrm>
              <a:off x="272026" y="1259794"/>
              <a:ext cx="6852048" cy="510300"/>
              <a:chOff x="362701" y="1679725"/>
              <a:chExt cx="9136064" cy="680400"/>
            </a:xfrm>
          </p:grpSpPr>
          <p:cxnSp>
            <p:nvCxnSpPr>
              <p:cNvPr id="8" name="MIO_AGENDA_ELEMENT_DECORATOR_1">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MIO_AGENDA_ELEMENT_DECORATOR_1">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MIO_AGENDA_ELEMENT_TITEL_1">
              <a:hlinkClick r:id="rId22" action="ppaction://hlinksldjump"/>
              <a:extLst>
                <a:ext uri="{FF2B5EF4-FFF2-40B4-BE49-F238E27FC236}">
                  <a16:creationId xmlns:a16="http://schemas.microsoft.com/office/drawing/2014/main" id="{B61CB580-DF8B-48AF-BCE7-BFEC15B6A502}"/>
                </a:ext>
              </a:extLst>
            </p:cNvPr>
            <p:cNvSpPr>
              <a:spLocks/>
            </p:cNvSpPr>
            <p:nvPr>
              <p:custDataLst>
                <p:tags r:id="rId8"/>
              </p:custDataLst>
            </p:nvPr>
          </p:nvSpPr>
          <p:spPr>
            <a:xfrm>
              <a:off x="708423" y="12597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en-US" sz="1500">
                  <a:solidFill>
                    <a:schemeClr val="tx1"/>
                  </a:solidFill>
                </a:rPr>
                <a:t>webMethods API Gateway Staging Solution Overview</a:t>
              </a:r>
              <a:endParaRPr lang="de-DE" sz="1500" dirty="0">
                <a:solidFill>
                  <a:schemeClr val="tx1"/>
                </a:solidFill>
              </a:endParaRPr>
            </a:p>
          </p:txBody>
        </p:sp>
        <p:sp>
          <p:nvSpPr>
            <p:cNvPr id="4" name="MIO_AGENDA_ELEMENT_ELEMENTNUMBER_1">
              <a:hlinkClick r:id="rId22" action="ppaction://hlinksldjump"/>
              <a:extLst>
                <a:ext uri="{FF2B5EF4-FFF2-40B4-BE49-F238E27FC236}">
                  <a16:creationId xmlns:a16="http://schemas.microsoft.com/office/drawing/2014/main" id="{1E6469EE-1B98-4322-AEB5-C9BF1E8A474D}"/>
                </a:ext>
              </a:extLst>
            </p:cNvPr>
            <p:cNvSpPr>
              <a:spLocks/>
            </p:cNvSpPr>
            <p:nvPr>
              <p:custDataLst>
                <p:tags r:id="rId9"/>
              </p:custDataLst>
            </p:nvPr>
          </p:nvSpPr>
          <p:spPr>
            <a:xfrm>
              <a:off x="303607" y="12597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1</a:t>
              </a:r>
              <a:endParaRPr lang="de-DE" sz="1500" dirty="0">
                <a:solidFill>
                  <a:schemeClr val="tx1"/>
                </a:solidFill>
              </a:endParaRPr>
            </a:p>
          </p:txBody>
        </p:sp>
        <p:sp>
          <p:nvSpPr>
            <p:cNvPr id="6" name="MIO_AGENDA_ELEMENT_PAGENUMBER_1">
              <a:hlinkClick r:id="rId22" action="ppaction://hlinksldjump"/>
              <a:extLst>
                <a:ext uri="{FF2B5EF4-FFF2-40B4-BE49-F238E27FC236}">
                  <a16:creationId xmlns:a16="http://schemas.microsoft.com/office/drawing/2014/main" id="{188A44A1-90B2-4719-B50D-B1923DD2398F}"/>
                </a:ext>
              </a:extLst>
            </p:cNvPr>
            <p:cNvSpPr>
              <a:spLocks/>
            </p:cNvSpPr>
            <p:nvPr>
              <p:custDataLst>
                <p:tags r:id="rId10"/>
              </p:custDataLst>
            </p:nvPr>
          </p:nvSpPr>
          <p:spPr>
            <a:xfrm>
              <a:off x="6611209" y="12597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4</a:t>
              </a:r>
              <a:endParaRPr lang="de-DE" sz="1500" dirty="0">
                <a:solidFill>
                  <a:schemeClr val="tx1"/>
                </a:solidFill>
              </a:endParaRPr>
            </a:p>
          </p:txBody>
        </p:sp>
        <p:sp>
          <p:nvSpPr>
            <p:cNvPr id="10" name="MIO_AGENDA_ELEMENT_TITEL_2">
              <a:hlinkClick r:id="rId23" action="ppaction://hlinksldjump"/>
              <a:extLst>
                <a:ext uri="{FF2B5EF4-FFF2-40B4-BE49-F238E27FC236}">
                  <a16:creationId xmlns:a16="http://schemas.microsoft.com/office/drawing/2014/main" id="{B61CB580-DF8B-48AF-BCE7-BFEC15B6A502}"/>
                </a:ext>
              </a:extLst>
            </p:cNvPr>
            <p:cNvSpPr>
              <a:spLocks/>
            </p:cNvSpPr>
            <p:nvPr>
              <p:custDataLst>
                <p:tags r:id="rId11"/>
              </p:custDataLst>
            </p:nvPr>
          </p:nvSpPr>
          <p:spPr>
            <a:xfrm>
              <a:off x="708423" y="17700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Implementation and Configuration</a:t>
              </a:r>
              <a:endParaRPr lang="de-DE" sz="1500" dirty="0">
                <a:solidFill>
                  <a:schemeClr val="tx1"/>
                </a:solidFill>
              </a:endParaRPr>
            </a:p>
          </p:txBody>
        </p:sp>
        <p:sp>
          <p:nvSpPr>
            <p:cNvPr id="11" name="MIO_AGENDA_ELEMENT_ELEMENTNUMBER_2">
              <a:hlinkClick r:id="rId23" action="ppaction://hlinksldjump"/>
              <a:extLst>
                <a:ext uri="{FF2B5EF4-FFF2-40B4-BE49-F238E27FC236}">
                  <a16:creationId xmlns:a16="http://schemas.microsoft.com/office/drawing/2014/main" id="{1E6469EE-1B98-4322-AEB5-C9BF1E8A474D}"/>
                </a:ext>
              </a:extLst>
            </p:cNvPr>
            <p:cNvSpPr>
              <a:spLocks/>
            </p:cNvSpPr>
            <p:nvPr>
              <p:custDataLst>
                <p:tags r:id="rId12"/>
              </p:custDataLst>
            </p:nvPr>
          </p:nvSpPr>
          <p:spPr>
            <a:xfrm>
              <a:off x="303607" y="17700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2</a:t>
              </a:r>
              <a:endParaRPr lang="de-DE" sz="1500" dirty="0">
                <a:solidFill>
                  <a:schemeClr val="tx1"/>
                </a:solidFill>
              </a:endParaRPr>
            </a:p>
          </p:txBody>
        </p:sp>
        <p:sp>
          <p:nvSpPr>
            <p:cNvPr id="12" name="MIO_AGENDA_ELEMENT_PAGENUMBER_2">
              <a:hlinkClick r:id="rId23" action="ppaction://hlinksldjump"/>
              <a:extLst>
                <a:ext uri="{FF2B5EF4-FFF2-40B4-BE49-F238E27FC236}">
                  <a16:creationId xmlns:a16="http://schemas.microsoft.com/office/drawing/2014/main" id="{188A44A1-90B2-4719-B50D-B1923DD2398F}"/>
                </a:ext>
              </a:extLst>
            </p:cNvPr>
            <p:cNvSpPr>
              <a:spLocks/>
            </p:cNvSpPr>
            <p:nvPr>
              <p:custDataLst>
                <p:tags r:id="rId13"/>
              </p:custDataLst>
            </p:nvPr>
          </p:nvSpPr>
          <p:spPr>
            <a:xfrm>
              <a:off x="6611209" y="17700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11</a:t>
              </a:r>
              <a:endParaRPr lang="de-DE" sz="1500" dirty="0">
                <a:solidFill>
                  <a:schemeClr val="tx1"/>
                </a:solidFill>
              </a:endParaRPr>
            </a:p>
          </p:txBody>
        </p:sp>
        <p:sp>
          <p:nvSpPr>
            <p:cNvPr id="16" name="MIO_AGENDA_ELEMENT_TITEL_3">
              <a:hlinkClick r:id="rId24" action="ppaction://hlinksldjump"/>
              <a:extLst>
                <a:ext uri="{FF2B5EF4-FFF2-40B4-BE49-F238E27FC236}">
                  <a16:creationId xmlns:a16="http://schemas.microsoft.com/office/drawing/2014/main" id="{F2184C5A-DA94-4008-81AA-34FDFCD6C478}"/>
                </a:ext>
              </a:extLst>
            </p:cNvPr>
            <p:cNvSpPr>
              <a:spLocks/>
            </p:cNvSpPr>
            <p:nvPr>
              <p:custDataLst>
                <p:tags r:id="rId14"/>
              </p:custDataLst>
            </p:nvPr>
          </p:nvSpPr>
          <p:spPr>
            <a:xfrm>
              <a:off x="708423" y="22803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b="1">
                  <a:solidFill>
                    <a:schemeClr val="bg1"/>
                  </a:solidFill>
                </a:rPr>
                <a:t>Alternative Approaches</a:t>
              </a:r>
              <a:endParaRPr lang="de-DE" sz="1500" b="1" dirty="0">
                <a:solidFill>
                  <a:schemeClr val="bg1"/>
                </a:solidFill>
              </a:endParaRPr>
            </a:p>
          </p:txBody>
        </p:sp>
        <p:sp>
          <p:nvSpPr>
            <p:cNvPr id="17" name="MIO_AGENDA_ELEMENT_ELEMENTNUMBER_3">
              <a:hlinkClick r:id="rId24" action="ppaction://hlinksldjump"/>
              <a:extLst>
                <a:ext uri="{FF2B5EF4-FFF2-40B4-BE49-F238E27FC236}">
                  <a16:creationId xmlns:a16="http://schemas.microsoft.com/office/drawing/2014/main" id="{0FB473AD-EB04-417F-BAA5-CFA80CE721A4}"/>
                </a:ext>
              </a:extLst>
            </p:cNvPr>
            <p:cNvSpPr>
              <a:spLocks/>
            </p:cNvSpPr>
            <p:nvPr>
              <p:custDataLst>
                <p:tags r:id="rId15"/>
              </p:custDataLst>
            </p:nvPr>
          </p:nvSpPr>
          <p:spPr>
            <a:xfrm>
              <a:off x="307179" y="2280394"/>
              <a:ext cx="34349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3</a:t>
              </a:r>
              <a:endParaRPr lang="de-DE" sz="1500" b="1" dirty="0">
                <a:solidFill>
                  <a:schemeClr val="bg1"/>
                </a:solidFill>
              </a:endParaRPr>
            </a:p>
          </p:txBody>
        </p:sp>
        <p:sp>
          <p:nvSpPr>
            <p:cNvPr id="18" name="MIO_AGENDA_ELEMENT_PAGENUMBER_3">
              <a:hlinkClick r:id="rId24" action="ppaction://hlinksldjump"/>
              <a:extLst>
                <a:ext uri="{FF2B5EF4-FFF2-40B4-BE49-F238E27FC236}">
                  <a16:creationId xmlns:a16="http://schemas.microsoft.com/office/drawing/2014/main" id="{FC093E87-1577-48CA-AB00-5C075EC783E1}"/>
                </a:ext>
              </a:extLst>
            </p:cNvPr>
            <p:cNvSpPr>
              <a:spLocks/>
            </p:cNvSpPr>
            <p:nvPr>
              <p:custDataLst>
                <p:tags r:id="rId16"/>
              </p:custDataLst>
            </p:nvPr>
          </p:nvSpPr>
          <p:spPr>
            <a:xfrm>
              <a:off x="6611209" y="22803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29</a:t>
              </a:r>
              <a:endParaRPr lang="de-DE" sz="1500" b="1" dirty="0">
                <a:solidFill>
                  <a:schemeClr val="bg1"/>
                </a:solidFill>
              </a:endParaRPr>
            </a:p>
          </p:txBody>
        </p:sp>
        <p:sp>
          <p:nvSpPr>
            <p:cNvPr id="24" name="MIO_AGENDA_ELEMENT_TITEL_4">
              <a:hlinkClick r:id="rId25" action="ppaction://hlinksldjump"/>
              <a:extLst>
                <a:ext uri="{FF2B5EF4-FFF2-40B4-BE49-F238E27FC236}">
                  <a16:creationId xmlns:a16="http://schemas.microsoft.com/office/drawing/2014/main" id="{B61CB580-DF8B-48AF-BCE7-BFEC15B6A502}"/>
                </a:ext>
              </a:extLst>
            </p:cNvPr>
            <p:cNvSpPr>
              <a:spLocks/>
            </p:cNvSpPr>
            <p:nvPr>
              <p:custDataLst>
                <p:tags r:id="rId17"/>
              </p:custDataLst>
            </p:nvPr>
          </p:nvSpPr>
          <p:spPr>
            <a:xfrm>
              <a:off x="708423" y="27906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References</a:t>
              </a:r>
              <a:endParaRPr lang="de-DE" sz="1500" dirty="0">
                <a:solidFill>
                  <a:schemeClr val="tx1"/>
                </a:solidFill>
              </a:endParaRPr>
            </a:p>
          </p:txBody>
        </p:sp>
        <p:sp>
          <p:nvSpPr>
            <p:cNvPr id="25" name="MIO_AGENDA_ELEMENT_ELEMENTNUMBER_4">
              <a:hlinkClick r:id="rId25" action="ppaction://hlinksldjump"/>
              <a:extLst>
                <a:ext uri="{FF2B5EF4-FFF2-40B4-BE49-F238E27FC236}">
                  <a16:creationId xmlns:a16="http://schemas.microsoft.com/office/drawing/2014/main" id="{1E6469EE-1B98-4322-AEB5-C9BF1E8A474D}"/>
                </a:ext>
              </a:extLst>
            </p:cNvPr>
            <p:cNvSpPr>
              <a:spLocks/>
            </p:cNvSpPr>
            <p:nvPr>
              <p:custDataLst>
                <p:tags r:id="rId18"/>
              </p:custDataLst>
            </p:nvPr>
          </p:nvSpPr>
          <p:spPr>
            <a:xfrm>
              <a:off x="303607" y="27906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4</a:t>
              </a:r>
              <a:endParaRPr lang="de-DE" sz="1500" dirty="0">
                <a:solidFill>
                  <a:schemeClr val="tx1"/>
                </a:solidFill>
              </a:endParaRPr>
            </a:p>
          </p:txBody>
        </p:sp>
        <p:sp>
          <p:nvSpPr>
            <p:cNvPr id="26" name="MIO_AGENDA_ELEMENT_PAGENUMBER_4">
              <a:hlinkClick r:id="rId25" action="ppaction://hlinksldjump"/>
              <a:extLst>
                <a:ext uri="{FF2B5EF4-FFF2-40B4-BE49-F238E27FC236}">
                  <a16:creationId xmlns:a16="http://schemas.microsoft.com/office/drawing/2014/main" id="{188A44A1-90B2-4719-B50D-B1923DD2398F}"/>
                </a:ext>
              </a:extLst>
            </p:cNvPr>
            <p:cNvSpPr>
              <a:spLocks/>
            </p:cNvSpPr>
            <p:nvPr>
              <p:custDataLst>
                <p:tags r:id="rId19"/>
              </p:custDataLst>
            </p:nvPr>
          </p:nvSpPr>
          <p:spPr>
            <a:xfrm>
              <a:off x="6611209" y="27906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33</a:t>
              </a:r>
              <a:endParaRPr lang="de-DE" sz="1500" dirty="0">
                <a:solidFill>
                  <a:schemeClr val="tx1"/>
                </a:solidFill>
              </a:endParaRPr>
            </a:p>
          </p:txBody>
        </p:sp>
      </p:grpSp>
      <p:sp>
        <p:nvSpPr>
          <p:cNvPr id="5" name="Title 4">
            <a:extLst>
              <a:ext uri="{FF2B5EF4-FFF2-40B4-BE49-F238E27FC236}">
                <a16:creationId xmlns:a16="http://schemas.microsoft.com/office/drawing/2014/main" id="{DF59139C-523E-7153-7B45-40433BF55885}"/>
              </a:ext>
            </a:extLst>
          </p:cNvPr>
          <p:cNvSpPr>
            <a:spLocks noGrp="1"/>
          </p:cNvSpPr>
          <p:nvPr>
            <p:ph type="title"/>
            <p:custDataLst>
              <p:tags r:id="rId3"/>
            </p:custDataLst>
          </p:nvPr>
        </p:nvSpPr>
        <p:spPr/>
        <p:txBody>
          <a:bodyPr/>
          <a:lstStyle/>
          <a:p>
            <a:r>
              <a:rPr lang="en-US"/>
              <a:t>Agenda</a:t>
            </a:r>
          </a:p>
        </p:txBody>
      </p:sp>
    </p:spTree>
    <p:custDataLst>
      <p:tags r:id="rId1"/>
    </p:custDataLst>
    <p:extLst>
      <p:ext uri="{BB962C8B-B14F-4D97-AF65-F5344CB8AC3E}">
        <p14:creationId xmlns:p14="http://schemas.microsoft.com/office/powerpoint/2010/main" val="1346424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70AFF2-F7F1-45BB-B20D-CF5B886050C0}"/>
              </a:ext>
            </a:extLst>
          </p:cNvPr>
          <p:cNvSpPr>
            <a:spLocks noGrp="1"/>
          </p:cNvSpPr>
          <p:nvPr>
            <p:ph type="subTitle" sz="quarter" idx="1"/>
          </p:nvPr>
        </p:nvSpPr>
        <p:spPr/>
        <p:txBody>
          <a:bodyPr/>
          <a:lstStyle/>
          <a:p>
            <a:endParaRPr lang="de-DE" dirty="0"/>
          </a:p>
        </p:txBody>
      </p:sp>
      <p:sp>
        <p:nvSpPr>
          <p:cNvPr id="23" name="Footer Placeholder 22">
            <a:extLst>
              <a:ext uri="{FF2B5EF4-FFF2-40B4-BE49-F238E27FC236}">
                <a16:creationId xmlns:a16="http://schemas.microsoft.com/office/drawing/2014/main" id="{73126F4B-7F63-3BBF-391D-88CD3063A106}"/>
              </a:ext>
            </a:extLst>
          </p:cNvPr>
          <p:cNvSpPr>
            <a:spLocks noGrp="1"/>
          </p:cNvSpPr>
          <p:nvPr>
            <p:ph type="ftr" sz="quarter" idx="11"/>
          </p:nvPr>
        </p:nvSpPr>
        <p:spPr/>
        <p:txBody>
          <a:bodyPr/>
          <a:lstStyle/>
          <a:p>
            <a:r>
              <a:rPr lang="en-US"/>
              <a:t>© 2024 Software AG. All rights reserved. For internal use only and for Software AG Partners.</a:t>
            </a:r>
            <a:endParaRPr lang="en-US" dirty="0"/>
          </a:p>
        </p:txBody>
      </p:sp>
      <p:sp>
        <p:nvSpPr>
          <p:cNvPr id="27" name="Slide Number Placeholder 26">
            <a:extLst>
              <a:ext uri="{FF2B5EF4-FFF2-40B4-BE49-F238E27FC236}">
                <a16:creationId xmlns:a16="http://schemas.microsoft.com/office/drawing/2014/main" id="{4470923D-CA9D-5FFA-1411-22E71E34E986}"/>
              </a:ext>
            </a:extLst>
          </p:cNvPr>
          <p:cNvSpPr>
            <a:spLocks noGrp="1"/>
          </p:cNvSpPr>
          <p:nvPr>
            <p:ph type="sldNum" sz="quarter" idx="12"/>
          </p:nvPr>
        </p:nvSpPr>
        <p:spPr/>
        <p:txBody>
          <a:bodyPr/>
          <a:lstStyle/>
          <a:p>
            <a:fld id="{22FF84AA-2C76-4AF1-8502-73D25D47F37C}" type="slidenum">
              <a:rPr lang="en-US" smtClean="0"/>
              <a:pPr/>
              <a:t>3</a:t>
            </a:fld>
            <a:endParaRPr lang="en-US" dirty="0"/>
          </a:p>
        </p:txBody>
      </p:sp>
      <p:grpSp>
        <p:nvGrpSpPr>
          <p:cNvPr id="30" name="Group 29">
            <a:extLst>
              <a:ext uri="{FF2B5EF4-FFF2-40B4-BE49-F238E27FC236}">
                <a16:creationId xmlns:a16="http://schemas.microsoft.com/office/drawing/2014/main" id="{B0A90E6F-1B3D-0B8E-BF75-6D4C7DE3E04C}"/>
              </a:ext>
            </a:extLst>
          </p:cNvPr>
          <p:cNvGrpSpPr/>
          <p:nvPr>
            <p:custDataLst>
              <p:tags r:id="rId2"/>
            </p:custDataLst>
          </p:nvPr>
        </p:nvGrpSpPr>
        <p:grpSpPr>
          <a:xfrm>
            <a:off x="272026" y="1259794"/>
            <a:ext cx="6852048" cy="2041200"/>
            <a:chOff x="272026" y="1259794"/>
            <a:chExt cx="6852048" cy="2041200"/>
          </a:xfrm>
        </p:grpSpPr>
        <p:grpSp>
          <p:nvGrpSpPr>
            <p:cNvPr id="26" name="MIO_AGENDA_ELEMENT_DECORATOR_4">
              <a:extLst>
                <a:ext uri="{FF2B5EF4-FFF2-40B4-BE49-F238E27FC236}">
                  <a16:creationId xmlns:a16="http://schemas.microsoft.com/office/drawing/2014/main" id="{F6C87C0E-1651-4964-8214-4B8A6FB75CB9}"/>
                </a:ext>
              </a:extLst>
            </p:cNvPr>
            <p:cNvGrpSpPr/>
            <p:nvPr>
              <p:custDataLst>
                <p:tags r:id="rId4"/>
              </p:custDataLst>
            </p:nvPr>
          </p:nvGrpSpPr>
          <p:grpSpPr>
            <a:xfrm>
              <a:off x="272026" y="2790694"/>
              <a:ext cx="6852048" cy="510300"/>
              <a:chOff x="362701" y="1679725"/>
              <a:chExt cx="9136064" cy="680400"/>
            </a:xfrm>
          </p:grpSpPr>
          <p:cxnSp>
            <p:nvCxnSpPr>
              <p:cNvPr id="28" name="MIO_AGENDA_ELEMENT_DECORATOR_4">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MIO_AGENDA_ELEMENT_DECORATOR_4">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9" name="MIO_AGENDA_ELEMENT_DECORATOR_3">
              <a:extLst>
                <a:ext uri="{FF2B5EF4-FFF2-40B4-BE49-F238E27FC236}">
                  <a16:creationId xmlns:a16="http://schemas.microsoft.com/office/drawing/2014/main" id="{F6C87C0E-1651-4964-8214-4B8A6FB75CB9}"/>
                </a:ext>
              </a:extLst>
            </p:cNvPr>
            <p:cNvGrpSpPr/>
            <p:nvPr>
              <p:custDataLst>
                <p:tags r:id="rId5"/>
              </p:custDataLst>
            </p:nvPr>
          </p:nvGrpSpPr>
          <p:grpSpPr>
            <a:xfrm>
              <a:off x="272026" y="2280394"/>
              <a:ext cx="6852048" cy="510300"/>
              <a:chOff x="362701" y="1679725"/>
              <a:chExt cx="9136064" cy="680400"/>
            </a:xfrm>
          </p:grpSpPr>
          <p:cxnSp>
            <p:nvCxnSpPr>
              <p:cNvPr id="20" name="MIO_AGENDA_ELEMENT_DECORATOR_3">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MIO_AGENDA_ELEMENT_DECORATOR_3">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3" name="MIO_AGENDA_ELEMENT_DECORATOR_2">
              <a:extLst>
                <a:ext uri="{FF2B5EF4-FFF2-40B4-BE49-F238E27FC236}">
                  <a16:creationId xmlns:a16="http://schemas.microsoft.com/office/drawing/2014/main" id="{F6C87C0E-1651-4964-8214-4B8A6FB75CB9}"/>
                </a:ext>
              </a:extLst>
            </p:cNvPr>
            <p:cNvGrpSpPr/>
            <p:nvPr>
              <p:custDataLst>
                <p:tags r:id="rId6"/>
              </p:custDataLst>
            </p:nvPr>
          </p:nvGrpSpPr>
          <p:grpSpPr>
            <a:xfrm>
              <a:off x="272026" y="1770094"/>
              <a:ext cx="6852048" cy="510300"/>
              <a:chOff x="362701" y="1679725"/>
              <a:chExt cx="9136064" cy="680400"/>
            </a:xfrm>
          </p:grpSpPr>
          <p:cxnSp>
            <p:nvCxnSpPr>
              <p:cNvPr id="14" name="MIO_AGENDA_ELEMENT_DECORATOR_2">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MIO_AGENDA_ELEMENT_DECORATOR_2">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 name="MIO_AGENDA_ELEMENT_DECORATOR_1">
              <a:extLst>
                <a:ext uri="{FF2B5EF4-FFF2-40B4-BE49-F238E27FC236}">
                  <a16:creationId xmlns:a16="http://schemas.microsoft.com/office/drawing/2014/main" id="{F6C87C0E-1651-4964-8214-4B8A6FB75CB9}"/>
                </a:ext>
              </a:extLst>
            </p:cNvPr>
            <p:cNvGrpSpPr/>
            <p:nvPr>
              <p:custDataLst>
                <p:tags r:id="rId7"/>
              </p:custDataLst>
            </p:nvPr>
          </p:nvGrpSpPr>
          <p:grpSpPr>
            <a:xfrm>
              <a:off x="272026" y="1259794"/>
              <a:ext cx="6852048" cy="510300"/>
              <a:chOff x="362701" y="1679725"/>
              <a:chExt cx="9136064" cy="680400"/>
            </a:xfrm>
          </p:grpSpPr>
          <p:cxnSp>
            <p:nvCxnSpPr>
              <p:cNvPr id="8" name="MIO_AGENDA_ELEMENT_DECORATOR_1">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MIO_AGENDA_ELEMENT_DECORATOR_1">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MIO_AGENDA_ELEMENT_TITEL_1">
              <a:hlinkClick r:id="rId22" action="ppaction://hlinksldjump"/>
              <a:extLst>
                <a:ext uri="{FF2B5EF4-FFF2-40B4-BE49-F238E27FC236}">
                  <a16:creationId xmlns:a16="http://schemas.microsoft.com/office/drawing/2014/main" id="{B61CB580-DF8B-48AF-BCE7-BFEC15B6A502}"/>
                </a:ext>
              </a:extLst>
            </p:cNvPr>
            <p:cNvSpPr>
              <a:spLocks/>
            </p:cNvSpPr>
            <p:nvPr>
              <p:custDataLst>
                <p:tags r:id="rId8"/>
              </p:custDataLst>
            </p:nvPr>
          </p:nvSpPr>
          <p:spPr>
            <a:xfrm>
              <a:off x="708423" y="12597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en-US" sz="1500">
                  <a:solidFill>
                    <a:schemeClr val="tx1"/>
                  </a:solidFill>
                </a:rPr>
                <a:t>webMethods API Gateway Staging Solution Overview</a:t>
              </a:r>
              <a:endParaRPr lang="de-DE" sz="1500" dirty="0">
                <a:solidFill>
                  <a:schemeClr val="tx1"/>
                </a:solidFill>
              </a:endParaRPr>
            </a:p>
          </p:txBody>
        </p:sp>
        <p:sp>
          <p:nvSpPr>
            <p:cNvPr id="4" name="MIO_AGENDA_ELEMENT_ELEMENTNUMBER_1">
              <a:hlinkClick r:id="rId22" action="ppaction://hlinksldjump"/>
              <a:extLst>
                <a:ext uri="{FF2B5EF4-FFF2-40B4-BE49-F238E27FC236}">
                  <a16:creationId xmlns:a16="http://schemas.microsoft.com/office/drawing/2014/main" id="{1E6469EE-1B98-4322-AEB5-C9BF1E8A474D}"/>
                </a:ext>
              </a:extLst>
            </p:cNvPr>
            <p:cNvSpPr>
              <a:spLocks/>
            </p:cNvSpPr>
            <p:nvPr>
              <p:custDataLst>
                <p:tags r:id="rId9"/>
              </p:custDataLst>
            </p:nvPr>
          </p:nvSpPr>
          <p:spPr>
            <a:xfrm>
              <a:off x="303607" y="12597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1</a:t>
              </a:r>
              <a:endParaRPr lang="de-DE" sz="1500" dirty="0">
                <a:solidFill>
                  <a:schemeClr val="tx1"/>
                </a:solidFill>
              </a:endParaRPr>
            </a:p>
          </p:txBody>
        </p:sp>
        <p:sp>
          <p:nvSpPr>
            <p:cNvPr id="6" name="MIO_AGENDA_ELEMENT_PAGENUMBER_1">
              <a:hlinkClick r:id="rId22" action="ppaction://hlinksldjump"/>
              <a:extLst>
                <a:ext uri="{FF2B5EF4-FFF2-40B4-BE49-F238E27FC236}">
                  <a16:creationId xmlns:a16="http://schemas.microsoft.com/office/drawing/2014/main" id="{188A44A1-90B2-4719-B50D-B1923DD2398F}"/>
                </a:ext>
              </a:extLst>
            </p:cNvPr>
            <p:cNvSpPr>
              <a:spLocks/>
            </p:cNvSpPr>
            <p:nvPr>
              <p:custDataLst>
                <p:tags r:id="rId10"/>
              </p:custDataLst>
            </p:nvPr>
          </p:nvSpPr>
          <p:spPr>
            <a:xfrm>
              <a:off x="6611209" y="12597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4</a:t>
              </a:r>
              <a:endParaRPr lang="de-DE" sz="1500" dirty="0">
                <a:solidFill>
                  <a:schemeClr val="tx1"/>
                </a:solidFill>
              </a:endParaRPr>
            </a:p>
          </p:txBody>
        </p:sp>
        <p:sp>
          <p:nvSpPr>
            <p:cNvPr id="10" name="MIO_AGENDA_ELEMENT_TITEL_2">
              <a:hlinkClick r:id="rId23" action="ppaction://hlinksldjump"/>
              <a:extLst>
                <a:ext uri="{FF2B5EF4-FFF2-40B4-BE49-F238E27FC236}">
                  <a16:creationId xmlns:a16="http://schemas.microsoft.com/office/drawing/2014/main" id="{B61CB580-DF8B-48AF-BCE7-BFEC15B6A502}"/>
                </a:ext>
              </a:extLst>
            </p:cNvPr>
            <p:cNvSpPr>
              <a:spLocks/>
            </p:cNvSpPr>
            <p:nvPr>
              <p:custDataLst>
                <p:tags r:id="rId11"/>
              </p:custDataLst>
            </p:nvPr>
          </p:nvSpPr>
          <p:spPr>
            <a:xfrm>
              <a:off x="708423" y="17700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Implementation and Configuration</a:t>
              </a:r>
              <a:endParaRPr lang="de-DE" sz="1500" dirty="0">
                <a:solidFill>
                  <a:schemeClr val="tx1"/>
                </a:solidFill>
              </a:endParaRPr>
            </a:p>
          </p:txBody>
        </p:sp>
        <p:sp>
          <p:nvSpPr>
            <p:cNvPr id="11" name="MIO_AGENDA_ELEMENT_ELEMENTNUMBER_2">
              <a:hlinkClick r:id="rId23" action="ppaction://hlinksldjump"/>
              <a:extLst>
                <a:ext uri="{FF2B5EF4-FFF2-40B4-BE49-F238E27FC236}">
                  <a16:creationId xmlns:a16="http://schemas.microsoft.com/office/drawing/2014/main" id="{1E6469EE-1B98-4322-AEB5-C9BF1E8A474D}"/>
                </a:ext>
              </a:extLst>
            </p:cNvPr>
            <p:cNvSpPr>
              <a:spLocks/>
            </p:cNvSpPr>
            <p:nvPr>
              <p:custDataLst>
                <p:tags r:id="rId12"/>
              </p:custDataLst>
            </p:nvPr>
          </p:nvSpPr>
          <p:spPr>
            <a:xfrm>
              <a:off x="303607" y="17700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2</a:t>
              </a:r>
              <a:endParaRPr lang="de-DE" sz="1500" dirty="0">
                <a:solidFill>
                  <a:schemeClr val="tx1"/>
                </a:solidFill>
              </a:endParaRPr>
            </a:p>
          </p:txBody>
        </p:sp>
        <p:sp>
          <p:nvSpPr>
            <p:cNvPr id="12" name="MIO_AGENDA_ELEMENT_PAGENUMBER_2">
              <a:hlinkClick r:id="rId23" action="ppaction://hlinksldjump"/>
              <a:extLst>
                <a:ext uri="{FF2B5EF4-FFF2-40B4-BE49-F238E27FC236}">
                  <a16:creationId xmlns:a16="http://schemas.microsoft.com/office/drawing/2014/main" id="{188A44A1-90B2-4719-B50D-B1923DD2398F}"/>
                </a:ext>
              </a:extLst>
            </p:cNvPr>
            <p:cNvSpPr>
              <a:spLocks/>
            </p:cNvSpPr>
            <p:nvPr>
              <p:custDataLst>
                <p:tags r:id="rId13"/>
              </p:custDataLst>
            </p:nvPr>
          </p:nvSpPr>
          <p:spPr>
            <a:xfrm>
              <a:off x="6611209" y="17700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11</a:t>
              </a:r>
              <a:endParaRPr lang="de-DE" sz="1500" dirty="0">
                <a:solidFill>
                  <a:schemeClr val="tx1"/>
                </a:solidFill>
              </a:endParaRPr>
            </a:p>
          </p:txBody>
        </p:sp>
        <p:sp>
          <p:nvSpPr>
            <p:cNvPr id="16" name="MIO_AGENDA_ELEMENT_TITEL_3">
              <a:hlinkClick r:id="rId24" action="ppaction://hlinksldjump"/>
              <a:extLst>
                <a:ext uri="{FF2B5EF4-FFF2-40B4-BE49-F238E27FC236}">
                  <a16:creationId xmlns:a16="http://schemas.microsoft.com/office/drawing/2014/main" id="{B61CB580-DF8B-48AF-BCE7-BFEC15B6A502}"/>
                </a:ext>
              </a:extLst>
            </p:cNvPr>
            <p:cNvSpPr>
              <a:spLocks/>
            </p:cNvSpPr>
            <p:nvPr>
              <p:custDataLst>
                <p:tags r:id="rId14"/>
              </p:custDataLst>
            </p:nvPr>
          </p:nvSpPr>
          <p:spPr>
            <a:xfrm>
              <a:off x="708423" y="22803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Alternative Approaches</a:t>
              </a:r>
              <a:endParaRPr lang="de-DE" sz="1500" dirty="0">
                <a:solidFill>
                  <a:schemeClr val="tx1"/>
                </a:solidFill>
              </a:endParaRPr>
            </a:p>
          </p:txBody>
        </p:sp>
        <p:sp>
          <p:nvSpPr>
            <p:cNvPr id="17" name="MIO_AGENDA_ELEMENT_ELEMENTNUMBER_3">
              <a:hlinkClick r:id="rId24" action="ppaction://hlinksldjump"/>
              <a:extLst>
                <a:ext uri="{FF2B5EF4-FFF2-40B4-BE49-F238E27FC236}">
                  <a16:creationId xmlns:a16="http://schemas.microsoft.com/office/drawing/2014/main" id="{1E6469EE-1B98-4322-AEB5-C9BF1E8A474D}"/>
                </a:ext>
              </a:extLst>
            </p:cNvPr>
            <p:cNvSpPr>
              <a:spLocks/>
            </p:cNvSpPr>
            <p:nvPr>
              <p:custDataLst>
                <p:tags r:id="rId15"/>
              </p:custDataLst>
            </p:nvPr>
          </p:nvSpPr>
          <p:spPr>
            <a:xfrm>
              <a:off x="303607" y="22803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3</a:t>
              </a:r>
              <a:endParaRPr lang="de-DE" sz="1500" dirty="0">
                <a:solidFill>
                  <a:schemeClr val="tx1"/>
                </a:solidFill>
              </a:endParaRPr>
            </a:p>
          </p:txBody>
        </p:sp>
        <p:sp>
          <p:nvSpPr>
            <p:cNvPr id="18" name="MIO_AGENDA_ELEMENT_PAGENUMBER_3">
              <a:hlinkClick r:id="rId24" action="ppaction://hlinksldjump"/>
              <a:extLst>
                <a:ext uri="{FF2B5EF4-FFF2-40B4-BE49-F238E27FC236}">
                  <a16:creationId xmlns:a16="http://schemas.microsoft.com/office/drawing/2014/main" id="{188A44A1-90B2-4719-B50D-B1923DD2398F}"/>
                </a:ext>
              </a:extLst>
            </p:cNvPr>
            <p:cNvSpPr>
              <a:spLocks/>
            </p:cNvSpPr>
            <p:nvPr>
              <p:custDataLst>
                <p:tags r:id="rId16"/>
              </p:custDataLst>
            </p:nvPr>
          </p:nvSpPr>
          <p:spPr>
            <a:xfrm>
              <a:off x="6611209" y="22803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29</a:t>
              </a:r>
              <a:endParaRPr lang="de-DE" sz="1500" dirty="0">
                <a:solidFill>
                  <a:schemeClr val="tx1"/>
                </a:solidFill>
              </a:endParaRPr>
            </a:p>
          </p:txBody>
        </p:sp>
        <p:sp>
          <p:nvSpPr>
            <p:cNvPr id="22" name="MIO_AGENDA_ELEMENT_TITEL_4">
              <a:hlinkClick r:id="rId25" action="ppaction://hlinksldjump"/>
              <a:extLst>
                <a:ext uri="{FF2B5EF4-FFF2-40B4-BE49-F238E27FC236}">
                  <a16:creationId xmlns:a16="http://schemas.microsoft.com/office/drawing/2014/main" id="{B61CB580-DF8B-48AF-BCE7-BFEC15B6A502}"/>
                </a:ext>
              </a:extLst>
            </p:cNvPr>
            <p:cNvSpPr>
              <a:spLocks/>
            </p:cNvSpPr>
            <p:nvPr>
              <p:custDataLst>
                <p:tags r:id="rId17"/>
              </p:custDataLst>
            </p:nvPr>
          </p:nvSpPr>
          <p:spPr>
            <a:xfrm>
              <a:off x="708423" y="27906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References</a:t>
              </a:r>
              <a:endParaRPr lang="de-DE" sz="1500" dirty="0">
                <a:solidFill>
                  <a:schemeClr val="tx1"/>
                </a:solidFill>
              </a:endParaRPr>
            </a:p>
          </p:txBody>
        </p:sp>
        <p:sp>
          <p:nvSpPr>
            <p:cNvPr id="24" name="MIO_AGENDA_ELEMENT_ELEMENTNUMBER_4">
              <a:hlinkClick r:id="rId25" action="ppaction://hlinksldjump"/>
              <a:extLst>
                <a:ext uri="{FF2B5EF4-FFF2-40B4-BE49-F238E27FC236}">
                  <a16:creationId xmlns:a16="http://schemas.microsoft.com/office/drawing/2014/main" id="{1E6469EE-1B98-4322-AEB5-C9BF1E8A474D}"/>
                </a:ext>
              </a:extLst>
            </p:cNvPr>
            <p:cNvSpPr>
              <a:spLocks/>
            </p:cNvSpPr>
            <p:nvPr>
              <p:custDataLst>
                <p:tags r:id="rId18"/>
              </p:custDataLst>
            </p:nvPr>
          </p:nvSpPr>
          <p:spPr>
            <a:xfrm>
              <a:off x="303607" y="27906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4</a:t>
              </a:r>
              <a:endParaRPr lang="de-DE" sz="1500" dirty="0">
                <a:solidFill>
                  <a:schemeClr val="tx1"/>
                </a:solidFill>
              </a:endParaRPr>
            </a:p>
          </p:txBody>
        </p:sp>
        <p:sp>
          <p:nvSpPr>
            <p:cNvPr id="25" name="MIO_AGENDA_ELEMENT_PAGENUMBER_4">
              <a:hlinkClick r:id="rId25" action="ppaction://hlinksldjump"/>
              <a:extLst>
                <a:ext uri="{FF2B5EF4-FFF2-40B4-BE49-F238E27FC236}">
                  <a16:creationId xmlns:a16="http://schemas.microsoft.com/office/drawing/2014/main" id="{188A44A1-90B2-4719-B50D-B1923DD2398F}"/>
                </a:ext>
              </a:extLst>
            </p:cNvPr>
            <p:cNvSpPr>
              <a:spLocks/>
            </p:cNvSpPr>
            <p:nvPr>
              <p:custDataLst>
                <p:tags r:id="rId19"/>
              </p:custDataLst>
            </p:nvPr>
          </p:nvSpPr>
          <p:spPr>
            <a:xfrm>
              <a:off x="6611209" y="27906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33</a:t>
              </a:r>
              <a:endParaRPr lang="de-DE" sz="1500" dirty="0">
                <a:solidFill>
                  <a:schemeClr val="tx1"/>
                </a:solidFill>
              </a:endParaRPr>
            </a:p>
          </p:txBody>
        </p:sp>
      </p:grpSp>
      <p:sp>
        <p:nvSpPr>
          <p:cNvPr id="5" name="Title 4">
            <a:extLst>
              <a:ext uri="{FF2B5EF4-FFF2-40B4-BE49-F238E27FC236}">
                <a16:creationId xmlns:a16="http://schemas.microsoft.com/office/drawing/2014/main" id="{DF59139C-523E-7153-7B45-40433BF55885}"/>
              </a:ext>
            </a:extLst>
          </p:cNvPr>
          <p:cNvSpPr>
            <a:spLocks noGrp="1"/>
          </p:cNvSpPr>
          <p:nvPr>
            <p:ph type="title"/>
            <p:custDataLst>
              <p:tags r:id="rId3"/>
            </p:custDataLst>
          </p:nvPr>
        </p:nvSpPr>
        <p:spPr/>
        <p:txBody>
          <a:bodyPr/>
          <a:lstStyle/>
          <a:p>
            <a:r>
              <a:rPr lang="en-US"/>
              <a:t>Agenda</a:t>
            </a:r>
          </a:p>
        </p:txBody>
      </p:sp>
    </p:spTree>
    <p:custDataLst>
      <p:tags r:id="rId1"/>
    </p:custDataLst>
    <p:extLst>
      <p:ext uri="{BB962C8B-B14F-4D97-AF65-F5344CB8AC3E}">
        <p14:creationId xmlns:p14="http://schemas.microsoft.com/office/powerpoint/2010/main" val="35252768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Three Alternative Options for API Gateway Staging</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a:xfrm>
            <a:off x="270900" y="4904550"/>
            <a:ext cx="291075" cy="73454"/>
          </a:xfrm>
        </p:spPr>
        <p:txBody>
          <a:bodyPr/>
          <a:lstStyle/>
          <a:p>
            <a:fld id="{22FF84AA-2C76-4AF1-8502-73D25D47F37C}" type="slidenum">
              <a:rPr lang="en-US"/>
              <a:pPr/>
              <a:t>30</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subTitle" sz="quarter" idx="1"/>
          </p:nvPr>
        </p:nvSpPr>
        <p:spPr>
          <a:xfrm>
            <a:off x="215900" y="630134"/>
            <a:ext cx="8601075" cy="217885"/>
          </a:xfrm>
        </p:spPr>
        <p:txBody>
          <a:bodyPr vert="horz" lIns="0" tIns="0" rIns="0" bIns="0" rtlCol="0">
            <a:noAutofit/>
          </a:bodyPr>
          <a:lstStyle/>
          <a:p>
            <a:pPr>
              <a:spcBef>
                <a:spcPts val="300"/>
              </a:spcBef>
            </a:pPr>
            <a:r>
              <a:rPr lang="en-US" dirty="0"/>
              <a:t>Good solutions for simple use cases, but lacking flexibility for enterprise customers</a:t>
            </a:r>
          </a:p>
        </p:txBody>
      </p:sp>
      <p:sp>
        <p:nvSpPr>
          <p:cNvPr id="11" name="Inhaltsplatzhalter 10">
            <a:extLst>
              <a:ext uri="{FF2B5EF4-FFF2-40B4-BE49-F238E27FC236}">
                <a16:creationId xmlns:a16="http://schemas.microsoft.com/office/drawing/2014/main" id="{F80F32AD-43FE-470F-83BC-25D4A3E4ACE8}"/>
              </a:ext>
            </a:extLst>
          </p:cNvPr>
          <p:cNvSpPr>
            <a:spLocks noGrp="1"/>
          </p:cNvSpPr>
          <p:nvPr>
            <p:ph sz="quarter" idx="21"/>
            <p:custDataLst>
              <p:tags r:id="rId1"/>
            </p:custDataLst>
          </p:nvPr>
        </p:nvSpPr>
        <p:spPr>
          <a:xfrm>
            <a:off x="270900" y="3313481"/>
            <a:ext cx="8601075" cy="1226616"/>
          </a:xfrm>
        </p:spPr>
        <p:txBody>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r>
              <a:rPr lang="en-US" dirty="0"/>
              <a:t>All three options are based on the assumption that the assets should be moved unchanged from source environment to target environment (with the exception of alias values)</a:t>
            </a:r>
          </a:p>
          <a:p>
            <a:r>
              <a:rPr lang="en-US" dirty="0"/>
              <a:t>But in reality, many customers are asking for changes to be applied automatically when assets are moved from one stage to the next stage -&gt; </a:t>
            </a:r>
            <a:r>
              <a:rPr lang="en-US" b="1" dirty="0"/>
              <a:t>asset manipulations</a:t>
            </a:r>
          </a:p>
        </p:txBody>
      </p:sp>
      <p:grpSp>
        <p:nvGrpSpPr>
          <p:cNvPr id="15" name="Gruppieren 14">
            <a:extLst>
              <a:ext uri="{FF2B5EF4-FFF2-40B4-BE49-F238E27FC236}">
                <a16:creationId xmlns:a16="http://schemas.microsoft.com/office/drawing/2014/main" id="{94752032-C0A0-438F-A8B6-5F29A88A569B}"/>
              </a:ext>
            </a:extLst>
          </p:cNvPr>
          <p:cNvGrpSpPr/>
          <p:nvPr/>
        </p:nvGrpSpPr>
        <p:grpSpPr>
          <a:xfrm>
            <a:off x="161925" y="1004112"/>
            <a:ext cx="8740769" cy="2053692"/>
            <a:chOff x="215900" y="1770864"/>
            <a:chExt cx="8586410" cy="2654052"/>
          </a:xfrm>
        </p:grpSpPr>
        <p:sp>
          <p:nvSpPr>
            <p:cNvPr id="12" name="Content Placeholder 2">
              <a:extLst>
                <a:ext uri="{FF2B5EF4-FFF2-40B4-BE49-F238E27FC236}">
                  <a16:creationId xmlns:a16="http://schemas.microsoft.com/office/drawing/2014/main" id="{3F0F1F37-F8D0-4F27-B7B4-68C3A07B5AA9}"/>
                </a:ext>
              </a:extLst>
            </p:cNvPr>
            <p:cNvSpPr txBox="1">
              <a:spLocks/>
            </p:cNvSpPr>
            <p:nvPr/>
          </p:nvSpPr>
          <p:spPr>
            <a:xfrm>
              <a:off x="215900" y="1770864"/>
              <a:ext cx="2800730" cy="2654052"/>
            </a:xfrm>
            <a:prstGeom prst="rect">
              <a:avLst/>
            </a:prstGeom>
            <a:ln>
              <a:solidFill>
                <a:schemeClr val="accent1"/>
              </a:solidFill>
            </a:ln>
          </p:spPr>
          <p:txBody>
            <a:bodyPr vert="horz" lIns="68580" tIns="34290" rIns="68580" bIns="34290" rtlCol="0">
              <a:noAutofit/>
            </a:bodyPr>
            <a:lstStyle>
              <a:lvl1pPr marL="0" marR="0" indent="0" algn="l" defTabSz="914400" rtl="0" eaLnBrk="1" fontAlgn="auto" latinLnBrk="0" hangingPunct="1">
                <a:lnSpc>
                  <a:spcPct val="100000"/>
                </a:lnSpc>
                <a:spcBef>
                  <a:spcPts val="600"/>
                </a:spcBef>
                <a:spcAft>
                  <a:spcPts val="0"/>
                </a:spcAft>
                <a:buClr>
                  <a:srgbClr val="0899CC"/>
                </a:buClr>
                <a:buSzTx/>
                <a:buFont typeface="Arial" panose="020B0604020202020204" pitchFamily="34" charset="0"/>
                <a:buNone/>
                <a:tabLst/>
                <a:defRPr sz="1800" kern="1200">
                  <a:solidFill>
                    <a:schemeClr val="tx1"/>
                  </a:solidFill>
                  <a:latin typeface="+mn-lt"/>
                  <a:ea typeface="+mn-ea"/>
                  <a:cs typeface="+mn-cs"/>
                </a:defRPr>
              </a:lvl1pPr>
              <a:lvl2pPr marL="176213" marR="0" indent="-176213" algn="l" defTabSz="914400" rtl="0" eaLnBrk="1" fontAlgn="auto" latinLnBrk="0" hangingPunct="1">
                <a:lnSpc>
                  <a:spcPct val="100000"/>
                </a:lnSpc>
                <a:spcBef>
                  <a:spcPts val="600"/>
                </a:spcBef>
                <a:spcAft>
                  <a:spcPts val="0"/>
                </a:spcAft>
                <a:buClr>
                  <a:srgbClr val="0899CC"/>
                </a:buClr>
                <a:buSzPct val="100000"/>
                <a:buFont typeface="Arial" panose="020B0604020202020204" pitchFamily="34" charset="0"/>
                <a:buChar char="•"/>
                <a:tabLst/>
                <a:defRPr sz="1600" kern="1200">
                  <a:solidFill>
                    <a:schemeClr val="tx1"/>
                  </a:solidFill>
                  <a:latin typeface="+mn-lt"/>
                  <a:ea typeface="+mn-ea"/>
                  <a:cs typeface="+mn-cs"/>
                </a:defRPr>
              </a:lvl2pPr>
              <a:lvl3pPr marL="6858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400" kern="1200">
                  <a:solidFill>
                    <a:schemeClr val="tx1"/>
                  </a:solidFill>
                  <a:latin typeface="+mn-lt"/>
                  <a:ea typeface="+mn-ea"/>
                  <a:cs typeface="+mn-cs"/>
                </a:defRPr>
              </a:lvl3pPr>
              <a:lvl4pPr marL="9144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a:solidFill>
                    <a:schemeClr val="tx1"/>
                  </a:solidFill>
                  <a:latin typeface="+mn-lt"/>
                  <a:ea typeface="+mn-ea"/>
                  <a:cs typeface="+mn-cs"/>
                </a:defRPr>
              </a:lvl4pPr>
              <a:lvl5pPr marL="11430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baseline="0">
                  <a:solidFill>
                    <a:schemeClr val="tx1"/>
                  </a:solidFill>
                  <a:latin typeface="+mn-lt"/>
                  <a:ea typeface="+mn-ea"/>
                  <a:cs typeface="+mn-cs"/>
                </a:defRPr>
              </a:lvl5pPr>
              <a:lvl6pPr marL="13716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6pPr>
              <a:lvl7pPr marL="16002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7pPr>
              <a:lvl8pPr marL="18288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8pPr>
              <a:lvl9pPr marL="20574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9pPr>
            </a:lstStyle>
            <a:p>
              <a:r>
                <a:rPr lang="en-US" sz="900" b="1" dirty="0"/>
                <a:t>Export and Import</a:t>
              </a:r>
            </a:p>
            <a:p>
              <a:pPr lvl="1"/>
              <a:r>
                <a:rPr lang="en-US" sz="825" dirty="0"/>
                <a:t>Export assets from source environment</a:t>
              </a:r>
            </a:p>
            <a:p>
              <a:pPr lvl="1"/>
              <a:r>
                <a:rPr lang="en-US" sz="825" dirty="0"/>
                <a:t>Import assets on target environment</a:t>
              </a:r>
            </a:p>
            <a:p>
              <a:pPr lvl="1"/>
              <a:r>
                <a:rPr lang="en-US" sz="825" dirty="0"/>
                <a:t>Can be executed manually in the API Gateway UI itself or through the API Gateway REST API</a:t>
              </a:r>
            </a:p>
            <a:p>
              <a:pPr lvl="1"/>
              <a:r>
                <a:rPr lang="en-US" sz="825" dirty="0"/>
                <a:t>Export archive will automatically include all dependent assets (hard dependencies)</a:t>
              </a:r>
            </a:p>
            <a:p>
              <a:pPr lvl="1"/>
              <a:r>
                <a:rPr lang="en-US" sz="825" dirty="0"/>
                <a:t>Stage-specific alias values not supported</a:t>
              </a:r>
            </a:p>
          </p:txBody>
        </p:sp>
        <p:sp>
          <p:nvSpPr>
            <p:cNvPr id="13" name="Content Placeholder 1">
              <a:extLst>
                <a:ext uri="{FF2B5EF4-FFF2-40B4-BE49-F238E27FC236}">
                  <a16:creationId xmlns:a16="http://schemas.microsoft.com/office/drawing/2014/main" id="{7C788333-62B5-42B3-8E5B-A4155E22ED53}"/>
                </a:ext>
              </a:extLst>
            </p:cNvPr>
            <p:cNvSpPr txBox="1">
              <a:spLocks/>
            </p:cNvSpPr>
            <p:nvPr/>
          </p:nvSpPr>
          <p:spPr>
            <a:xfrm>
              <a:off x="6001580" y="1770864"/>
              <a:ext cx="2800730" cy="2654052"/>
            </a:xfrm>
            <a:prstGeom prst="roundRect">
              <a:avLst>
                <a:gd name="adj" fmla="val 0"/>
              </a:avLst>
            </a:prstGeom>
            <a:ln>
              <a:solidFill>
                <a:schemeClr val="accent1"/>
              </a:solidFill>
            </a:ln>
          </p:spPr>
          <p:txBody>
            <a:bodyPr>
              <a:noAutofit/>
            </a:bodyPr>
            <a:lstStyle>
              <a:lvl1pPr marL="228600" marR="0" indent="-228600" algn="l" defTabSz="914400" rtl="0" eaLnBrk="1" fontAlgn="auto" latinLnBrk="0" hangingPunct="1">
                <a:lnSpc>
                  <a:spcPct val="100000"/>
                </a:lnSpc>
                <a:spcBef>
                  <a:spcPts val="600"/>
                </a:spcBef>
                <a:spcAft>
                  <a:spcPts val="0"/>
                </a:spcAft>
                <a:buClr>
                  <a:srgbClr val="0899CC"/>
                </a:buClr>
                <a:buSzTx/>
                <a:buFont typeface="Arial" panose="020B0604020202020204" pitchFamily="34" charset="0"/>
                <a:buChar char="•"/>
                <a:tabLst/>
                <a:defRPr sz="1800" kern="1200">
                  <a:solidFill>
                    <a:schemeClr val="tx1"/>
                  </a:solidFill>
                  <a:latin typeface="+mn-lt"/>
                  <a:ea typeface="+mn-ea"/>
                  <a:cs typeface="+mn-cs"/>
                </a:defRPr>
              </a:lvl1pPr>
              <a:lvl2pPr marL="457200" marR="0" indent="-228600" algn="l" defTabSz="914400" rtl="0" eaLnBrk="1" fontAlgn="auto" latinLnBrk="0" hangingPunct="1">
                <a:lnSpc>
                  <a:spcPct val="100000"/>
                </a:lnSpc>
                <a:spcBef>
                  <a:spcPts val="600"/>
                </a:spcBef>
                <a:spcAft>
                  <a:spcPts val="0"/>
                </a:spcAft>
                <a:buClr>
                  <a:schemeClr val="tx1"/>
                </a:buClr>
                <a:buSzPct val="80000"/>
                <a:buFont typeface="Courier New" panose="02070309020205020404" pitchFamily="49" charset="0"/>
                <a:buChar char="o"/>
                <a:tabLst/>
                <a:defRPr sz="1600" kern="1200">
                  <a:solidFill>
                    <a:schemeClr val="tx1"/>
                  </a:solidFill>
                  <a:latin typeface="+mn-lt"/>
                  <a:ea typeface="+mn-ea"/>
                  <a:cs typeface="+mn-cs"/>
                </a:defRPr>
              </a:lvl2pPr>
              <a:lvl3pPr marL="6858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400" kern="1200">
                  <a:solidFill>
                    <a:schemeClr val="tx1"/>
                  </a:solidFill>
                  <a:latin typeface="+mn-lt"/>
                  <a:ea typeface="+mn-ea"/>
                  <a:cs typeface="+mn-cs"/>
                </a:defRPr>
              </a:lvl3pPr>
              <a:lvl4pPr marL="9144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a:solidFill>
                    <a:schemeClr val="tx1"/>
                  </a:solidFill>
                  <a:latin typeface="+mn-lt"/>
                  <a:ea typeface="+mn-ea"/>
                  <a:cs typeface="+mn-cs"/>
                </a:defRPr>
              </a:lvl4pPr>
              <a:lvl5pPr marL="11430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baseline="0">
                  <a:solidFill>
                    <a:schemeClr val="tx1"/>
                  </a:solidFill>
                  <a:latin typeface="+mn-lt"/>
                  <a:ea typeface="+mn-ea"/>
                  <a:cs typeface="+mn-cs"/>
                </a:defRPr>
              </a:lvl5pPr>
              <a:lvl6pPr marL="13716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6pPr>
              <a:lvl7pPr marL="16002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7pPr>
              <a:lvl8pPr marL="18288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8pPr>
              <a:lvl9pPr marL="20574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9pPr>
            </a:lstStyle>
            <a:p>
              <a:pPr marL="0" indent="0">
                <a:buNone/>
              </a:pPr>
              <a:r>
                <a:rPr lang="en-US" sz="900" b="1" dirty="0"/>
                <a:t>Asset Staging using Asset Build Environment and Deployer</a:t>
              </a:r>
            </a:p>
            <a:p>
              <a:pPr marL="132160" lvl="1" indent="-132160">
                <a:buClr>
                  <a:srgbClr val="0899CC"/>
                </a:buClr>
                <a:buSzPct val="100000"/>
                <a:buFont typeface="Arial" panose="020B0604020202020204" pitchFamily="34" charset="0"/>
                <a:buChar char="•"/>
              </a:pPr>
              <a:r>
                <a:rPr lang="en-US" sz="825" dirty="0"/>
                <a:t>Asset staging through additional tools: Asset Build Environment (ABE) and webMethods Deployer</a:t>
              </a:r>
            </a:p>
            <a:p>
              <a:pPr marL="132160" lvl="1" indent="-132160">
                <a:buClr>
                  <a:srgbClr val="0899CC"/>
                </a:buClr>
                <a:buSzPct val="100000"/>
                <a:buFont typeface="Arial" panose="020B0604020202020204" pitchFamily="34" charset="0"/>
                <a:buChar char="•"/>
              </a:pPr>
              <a:r>
                <a:rPr lang="en-US" sz="825" dirty="0"/>
                <a:t>Configuration and execution outside of API Gateway</a:t>
              </a:r>
            </a:p>
            <a:p>
              <a:pPr marL="132160" lvl="1" indent="-132160">
                <a:buClr>
                  <a:srgbClr val="0899CC"/>
                </a:buClr>
                <a:buSzPct val="100000"/>
                <a:buFont typeface="Arial" panose="020B0604020202020204" pitchFamily="34" charset="0"/>
                <a:buChar char="•"/>
              </a:pPr>
              <a:r>
                <a:rPr lang="en-US" sz="825" dirty="0"/>
                <a:t>Can be fully automated</a:t>
              </a:r>
            </a:p>
            <a:p>
              <a:pPr marL="132160" lvl="1" indent="-132160">
                <a:buClr>
                  <a:srgbClr val="0899CC"/>
                </a:buClr>
                <a:buSzPct val="100000"/>
                <a:buFont typeface="Arial" panose="020B0604020202020204" pitchFamily="34" charset="0"/>
                <a:buChar char="•"/>
              </a:pPr>
              <a:r>
                <a:rPr lang="en-US" sz="825" dirty="0"/>
                <a:t>Staging will always include all dependent assets (hard dependencies)</a:t>
              </a:r>
            </a:p>
            <a:p>
              <a:pPr marL="132160" lvl="1" indent="-132160">
                <a:buClr>
                  <a:srgbClr val="0899CC"/>
                </a:buClr>
                <a:buSzPct val="100000"/>
                <a:buFont typeface="Arial" panose="020B0604020202020204" pitchFamily="34" charset="0"/>
                <a:buChar char="•"/>
              </a:pPr>
              <a:r>
                <a:rPr lang="en-US" sz="825" dirty="0"/>
                <a:t>Stage-specific alias values supported for all alias types</a:t>
              </a:r>
            </a:p>
          </p:txBody>
        </p:sp>
        <p:sp>
          <p:nvSpPr>
            <p:cNvPr id="14" name="Content Placeholder 2">
              <a:extLst>
                <a:ext uri="{FF2B5EF4-FFF2-40B4-BE49-F238E27FC236}">
                  <a16:creationId xmlns:a16="http://schemas.microsoft.com/office/drawing/2014/main" id="{7D93F3D6-7B36-4ADE-ACFE-70D91768A62C}"/>
                </a:ext>
              </a:extLst>
            </p:cNvPr>
            <p:cNvSpPr txBox="1">
              <a:spLocks/>
            </p:cNvSpPr>
            <p:nvPr/>
          </p:nvSpPr>
          <p:spPr>
            <a:xfrm>
              <a:off x="3108740" y="1770864"/>
              <a:ext cx="2800730" cy="2654052"/>
            </a:xfrm>
            <a:prstGeom prst="rect">
              <a:avLst/>
            </a:prstGeom>
            <a:ln>
              <a:solidFill>
                <a:schemeClr val="accent1"/>
              </a:solidFill>
            </a:ln>
          </p:spPr>
          <p:txBody>
            <a:bodyPr vert="horz" lIns="68580" tIns="34290" rIns="68580" bIns="34290" rtlCol="0">
              <a:noAutofit/>
            </a:bodyPr>
            <a:lstStyle>
              <a:lvl1pPr marL="0" marR="0" indent="0" algn="l" defTabSz="914400" rtl="0" eaLnBrk="1" fontAlgn="auto" latinLnBrk="0" hangingPunct="1">
                <a:lnSpc>
                  <a:spcPct val="100000"/>
                </a:lnSpc>
                <a:spcBef>
                  <a:spcPts val="600"/>
                </a:spcBef>
                <a:spcAft>
                  <a:spcPts val="0"/>
                </a:spcAft>
                <a:buClr>
                  <a:srgbClr val="0899CC"/>
                </a:buClr>
                <a:buSzTx/>
                <a:buFont typeface="Arial" panose="020B0604020202020204" pitchFamily="34" charset="0"/>
                <a:buNone/>
                <a:tabLst/>
                <a:defRPr sz="1800" kern="1200">
                  <a:solidFill>
                    <a:schemeClr val="tx1"/>
                  </a:solidFill>
                  <a:latin typeface="+mn-lt"/>
                  <a:ea typeface="+mn-ea"/>
                  <a:cs typeface="+mn-cs"/>
                </a:defRPr>
              </a:lvl1pPr>
              <a:lvl2pPr marL="176213" marR="0" indent="-176213" algn="l" defTabSz="914400" rtl="0" eaLnBrk="1" fontAlgn="auto" latinLnBrk="0" hangingPunct="1">
                <a:lnSpc>
                  <a:spcPct val="100000"/>
                </a:lnSpc>
                <a:spcBef>
                  <a:spcPts val="600"/>
                </a:spcBef>
                <a:spcAft>
                  <a:spcPts val="0"/>
                </a:spcAft>
                <a:buClr>
                  <a:srgbClr val="0899CC"/>
                </a:buClr>
                <a:buSzPct val="100000"/>
                <a:buFont typeface="Arial" panose="020B0604020202020204" pitchFamily="34" charset="0"/>
                <a:buChar char="•"/>
                <a:tabLst/>
                <a:defRPr sz="1600" kern="1200">
                  <a:solidFill>
                    <a:schemeClr val="tx1"/>
                  </a:solidFill>
                  <a:latin typeface="+mn-lt"/>
                  <a:ea typeface="+mn-ea"/>
                  <a:cs typeface="+mn-cs"/>
                </a:defRPr>
              </a:lvl2pPr>
              <a:lvl3pPr marL="6858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400" kern="1200">
                  <a:solidFill>
                    <a:schemeClr val="tx1"/>
                  </a:solidFill>
                  <a:latin typeface="+mn-lt"/>
                  <a:ea typeface="+mn-ea"/>
                  <a:cs typeface="+mn-cs"/>
                </a:defRPr>
              </a:lvl3pPr>
              <a:lvl4pPr marL="9144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a:solidFill>
                    <a:schemeClr val="tx1"/>
                  </a:solidFill>
                  <a:latin typeface="+mn-lt"/>
                  <a:ea typeface="+mn-ea"/>
                  <a:cs typeface="+mn-cs"/>
                </a:defRPr>
              </a:lvl4pPr>
              <a:lvl5pPr marL="1143000" marR="0" indent="-22860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sz="1200" kern="1200" baseline="0">
                  <a:solidFill>
                    <a:schemeClr val="tx1"/>
                  </a:solidFill>
                  <a:latin typeface="+mn-lt"/>
                  <a:ea typeface="+mn-ea"/>
                  <a:cs typeface="+mn-cs"/>
                </a:defRPr>
              </a:lvl5pPr>
              <a:lvl6pPr marL="13716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6pPr>
              <a:lvl7pPr marL="16002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7pPr>
              <a:lvl8pPr marL="18288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8pPr>
              <a:lvl9pPr marL="2057400" indent="-228600" algn="l" defTabSz="914400" rtl="0" eaLnBrk="1" latinLnBrk="0" hangingPunct="1">
                <a:spcBef>
                  <a:spcPts val="300"/>
                </a:spcBef>
                <a:buFont typeface="Trebuchet MS" pitchFamily="34" charset="0"/>
                <a:buChar char="—"/>
                <a:defRPr sz="1600" kern="1200" baseline="0">
                  <a:solidFill>
                    <a:schemeClr val="bg1">
                      <a:lumMod val="50000"/>
                    </a:schemeClr>
                  </a:solidFill>
                  <a:latin typeface="+mn-lt"/>
                  <a:ea typeface="+mn-ea"/>
                  <a:cs typeface="+mn-cs"/>
                </a:defRPr>
              </a:lvl9pPr>
            </a:lstStyle>
            <a:p>
              <a:r>
                <a:rPr lang="en-US" sz="900" b="1" dirty="0"/>
                <a:t>Promotion Management</a:t>
              </a:r>
            </a:p>
            <a:p>
              <a:pPr lvl="1"/>
              <a:r>
                <a:rPr lang="en-US" sz="825" dirty="0"/>
                <a:t>Direct promotion from one instance (or cluster) to another instance (or cluster)</a:t>
              </a:r>
            </a:p>
            <a:p>
              <a:pPr lvl="1"/>
              <a:r>
                <a:rPr lang="en-US" sz="825" dirty="0"/>
                <a:t>Can be executed manually in the API Gateway UI itself or through the API Gateway REST API</a:t>
              </a:r>
            </a:p>
            <a:p>
              <a:pPr lvl="1"/>
              <a:r>
                <a:rPr lang="en-US" sz="825" dirty="0"/>
                <a:t>Automatically promotes all dependent assets (hard dependencies)</a:t>
              </a:r>
            </a:p>
            <a:p>
              <a:pPr lvl="1"/>
              <a:r>
                <a:rPr lang="en-US" sz="825" dirty="0"/>
                <a:t>Stage-specific alias values supported for all alias types</a:t>
              </a:r>
            </a:p>
          </p:txBody>
        </p:sp>
      </p:grpSp>
      <p:sp>
        <p:nvSpPr>
          <p:cNvPr id="2" name="Fußzeilenplatzhalter 1">
            <a:extLst>
              <a:ext uri="{FF2B5EF4-FFF2-40B4-BE49-F238E27FC236}">
                <a16:creationId xmlns:a16="http://schemas.microsoft.com/office/drawing/2014/main" id="{28C4EDF1-C76E-4518-A966-C9ADAA263DBE}"/>
              </a:ext>
            </a:extLst>
          </p:cNvPr>
          <p:cNvSpPr>
            <a:spLocks noGrp="1"/>
          </p:cNvSpPr>
          <p:nvPr>
            <p:ph type="ftr" sz="quarter" idx="3"/>
          </p:nvPr>
        </p:nvSpPr>
        <p:spPr/>
        <p:txBody>
          <a:bodyPr/>
          <a:lstStyle/>
          <a:p>
            <a:r>
              <a:rPr lang="en-US" dirty="0"/>
              <a:t>© 2024 Software AG. All rights reserved. For internal use only and for Software AG Partners.</a:t>
            </a:r>
          </a:p>
        </p:txBody>
      </p:sp>
    </p:spTree>
    <p:extLst>
      <p:ext uri="{BB962C8B-B14F-4D97-AF65-F5344CB8AC3E}">
        <p14:creationId xmlns:p14="http://schemas.microsoft.com/office/powerpoint/2010/main" val="4000445612"/>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Common Requirement: Asset Manipulation During Staging</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31</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subTitle" sz="quarter" idx="1"/>
          </p:nvPr>
        </p:nvSpPr>
        <p:spPr>
          <a:xfrm>
            <a:off x="217612" y="622129"/>
            <a:ext cx="8601075" cy="217885"/>
          </a:xfrm>
        </p:spPr>
        <p:txBody>
          <a:bodyPr vert="horz" lIns="0" tIns="0" rIns="0" bIns="0" rtlCol="0">
            <a:noAutofit/>
          </a:bodyPr>
          <a:lstStyle/>
          <a:p>
            <a:pPr>
              <a:spcBef>
                <a:spcPts val="300"/>
              </a:spcBef>
            </a:pPr>
            <a:r>
              <a:rPr lang="en-US" dirty="0"/>
              <a:t>Some examples (real-world use cases)</a:t>
            </a:r>
          </a:p>
        </p:txBody>
      </p:sp>
      <p:sp>
        <p:nvSpPr>
          <p:cNvPr id="11" name="Inhaltsplatzhalter 10">
            <a:extLst>
              <a:ext uri="{FF2B5EF4-FFF2-40B4-BE49-F238E27FC236}">
                <a16:creationId xmlns:a16="http://schemas.microsoft.com/office/drawing/2014/main" id="{F80F32AD-43FE-470F-83BC-25D4A3E4ACE8}"/>
              </a:ext>
            </a:extLst>
          </p:cNvPr>
          <p:cNvSpPr>
            <a:spLocks noGrp="1"/>
          </p:cNvSpPr>
          <p:nvPr>
            <p:ph sz="quarter" idx="21"/>
            <p:custDataLst>
              <p:tags r:id="rId1"/>
            </p:custDataLst>
          </p:nvPr>
        </p:nvSpPr>
        <p:spPr/>
        <p:txBody>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Change alias values on the fly</a:t>
            </a:r>
          </a:p>
          <a:p>
            <a:pPr>
              <a:buFont typeface="Arial" panose="020B0604020202020204" pitchFamily="34" charset="0"/>
              <a:buChar char="•"/>
            </a:pPr>
            <a:r>
              <a:rPr lang="en-US" dirty="0"/>
              <a:t>Change set of registered applications for an API</a:t>
            </a:r>
          </a:p>
          <a:p>
            <a:pPr>
              <a:buFont typeface="Arial" panose="020B0604020202020204" pitchFamily="34" charset="0"/>
              <a:buChar char="•"/>
            </a:pPr>
            <a:r>
              <a:rPr lang="en-US" dirty="0"/>
              <a:t>Change identifiers for applications</a:t>
            </a:r>
          </a:p>
          <a:p>
            <a:pPr>
              <a:buFont typeface="Arial" panose="020B0604020202020204" pitchFamily="34" charset="0"/>
              <a:buChar char="•"/>
            </a:pPr>
            <a:r>
              <a:rPr lang="en-US" dirty="0"/>
              <a:t>Activate/deactivate applications</a:t>
            </a:r>
          </a:p>
          <a:p>
            <a:pPr>
              <a:buFont typeface="Arial" panose="020B0604020202020204" pitchFamily="34" charset="0"/>
              <a:buChar char="•"/>
            </a:pPr>
            <a:r>
              <a:rPr lang="en-US" dirty="0"/>
              <a:t>Turn API mocking on/off</a:t>
            </a:r>
          </a:p>
          <a:p>
            <a:pPr>
              <a:buFont typeface="Arial" panose="020B0604020202020204" pitchFamily="34" charset="0"/>
              <a:buChar char="•"/>
            </a:pPr>
            <a:r>
              <a:rPr lang="en-US" dirty="0"/>
              <a:t>Add/remove/change API policies, e.g., different authentication policies or different log levels per stage</a:t>
            </a:r>
          </a:p>
          <a:p>
            <a:pPr>
              <a:buFont typeface="Arial" panose="020B0604020202020204" pitchFamily="34" charset="0"/>
              <a:buChar char="•"/>
            </a:pPr>
            <a:r>
              <a:rPr lang="en-US" dirty="0"/>
              <a:t>Add API tags for identifying deployment</a:t>
            </a:r>
          </a:p>
        </p:txBody>
      </p:sp>
      <p:sp>
        <p:nvSpPr>
          <p:cNvPr id="2" name="Fußzeilenplatzhalter 1">
            <a:extLst>
              <a:ext uri="{FF2B5EF4-FFF2-40B4-BE49-F238E27FC236}">
                <a16:creationId xmlns:a16="http://schemas.microsoft.com/office/drawing/2014/main" id="{F1C85E08-53A0-452B-808A-ED0F0795B925}"/>
              </a:ext>
            </a:extLst>
          </p:cNvPr>
          <p:cNvSpPr>
            <a:spLocks noGrp="1"/>
          </p:cNvSpPr>
          <p:nvPr>
            <p:ph type="ftr" sz="quarter" idx="3"/>
          </p:nvPr>
        </p:nvSpPr>
        <p:spPr/>
        <p:txBody>
          <a:bodyPr/>
          <a:lstStyle/>
          <a:p>
            <a:r>
              <a:rPr lang="en-US" dirty="0"/>
              <a:t>© 2024 Software AG. All rights reserved. For internal use only and for Software AG Partners.</a:t>
            </a:r>
          </a:p>
        </p:txBody>
      </p:sp>
    </p:spTree>
    <p:extLst>
      <p:ext uri="{BB962C8B-B14F-4D97-AF65-F5344CB8AC3E}">
        <p14:creationId xmlns:p14="http://schemas.microsoft.com/office/powerpoint/2010/main" val="3810306181"/>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0">
            <a:extLst>
              <a:ext uri="{FF2B5EF4-FFF2-40B4-BE49-F238E27FC236}">
                <a16:creationId xmlns:a16="http://schemas.microsoft.com/office/drawing/2014/main" id="{8F604366-F711-44D9-B195-8B950CE00996}"/>
              </a:ext>
            </a:extLst>
          </p:cNvPr>
          <p:cNvSpPr txBox="1">
            <a:spLocks/>
          </p:cNvSpPr>
          <p:nvPr>
            <p:custDataLst>
              <p:tags r:id="rId1"/>
            </p:custDataLst>
          </p:nvPr>
        </p:nvSpPr>
        <p:spPr>
          <a:xfrm>
            <a:off x="270900" y="1040851"/>
            <a:ext cx="8601075" cy="3499247"/>
          </a:xfrm>
          <a:prstGeom prst="rect">
            <a:avLst/>
          </a:prstGeom>
        </p:spPr>
        <p:txBody>
          <a:bodyPr>
            <a:normAutofit lnSpcReduction="10000"/>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57175" indent="-257175">
              <a:buFont typeface="+mj-lt"/>
              <a:buAutoNum type="arabicPeriod"/>
            </a:pPr>
            <a:r>
              <a:rPr lang="en-US" dirty="0"/>
              <a:t>Apply manipulation on the assets in the export archive</a:t>
            </a:r>
          </a:p>
          <a:p>
            <a:pPr lvl="3"/>
            <a:r>
              <a:rPr lang="en-US" dirty="0"/>
              <a:t>not supported, does not work (only for very small manipulations), ACDL</a:t>
            </a:r>
          </a:p>
          <a:p>
            <a:pPr marL="257175" indent="-257175">
              <a:buFont typeface="+mj-lt"/>
              <a:buAutoNum type="arabicPeriod"/>
            </a:pPr>
            <a:r>
              <a:rPr lang="en-US" dirty="0"/>
              <a:t>Apply manipulation on source environment before export and revert change after export</a:t>
            </a:r>
          </a:p>
          <a:p>
            <a:pPr lvl="3"/>
            <a:r>
              <a:rPr lang="en-US" dirty="0"/>
              <a:t>small timeslot with incorrect configuration on source environment (after manipulation, before reverting)</a:t>
            </a:r>
          </a:p>
          <a:p>
            <a:pPr lvl="3"/>
            <a:r>
              <a:rPr lang="en-US" dirty="0"/>
              <a:t>too risky, what if it fails?</a:t>
            </a:r>
          </a:p>
          <a:p>
            <a:pPr marL="257175" indent="-257175">
              <a:buFont typeface="+mj-lt"/>
              <a:buAutoNum type="arabicPeriod"/>
            </a:pPr>
            <a:r>
              <a:rPr lang="en-US" dirty="0"/>
              <a:t>Apply manipulation on target environment after import</a:t>
            </a:r>
          </a:p>
          <a:p>
            <a:pPr lvl="3"/>
            <a:r>
              <a:rPr lang="en-US" dirty="0"/>
              <a:t>small timeslot with incorrect configuration on target environment (after import, before manipulation)</a:t>
            </a:r>
          </a:p>
          <a:p>
            <a:pPr lvl="3"/>
            <a:r>
              <a:rPr lang="en-US" dirty="0"/>
              <a:t>even more risky, what if it fails?</a:t>
            </a:r>
          </a:p>
          <a:p>
            <a:pPr marL="257175" indent="-257175">
              <a:buFont typeface="+mj-lt"/>
              <a:buAutoNum type="arabicPeriod"/>
            </a:pPr>
            <a:r>
              <a:rPr lang="en-US" dirty="0"/>
              <a:t>Execute manipulations on a dedicated build environment:</a:t>
            </a:r>
          </a:p>
          <a:p>
            <a:pPr marL="475875" lvl="3" indent="-257175">
              <a:buFont typeface="+mj-lt"/>
              <a:buAutoNum type="arabicPeriod"/>
            </a:pPr>
            <a:r>
              <a:rPr lang="en-US" dirty="0"/>
              <a:t>Export from source environment</a:t>
            </a:r>
          </a:p>
          <a:p>
            <a:pPr marL="475875" lvl="3" indent="-257175">
              <a:buFont typeface="+mj-lt"/>
              <a:buAutoNum type="arabicPeriod"/>
            </a:pPr>
            <a:r>
              <a:rPr lang="en-US" dirty="0"/>
              <a:t>Clean build environment</a:t>
            </a:r>
          </a:p>
          <a:p>
            <a:pPr marL="475875" lvl="3" indent="-257175">
              <a:buFont typeface="+mj-lt"/>
              <a:buAutoNum type="arabicPeriod"/>
            </a:pPr>
            <a:r>
              <a:rPr lang="en-US" dirty="0"/>
              <a:t>Import on build environment</a:t>
            </a:r>
          </a:p>
          <a:p>
            <a:pPr marL="475875" lvl="3" indent="-257175">
              <a:buFont typeface="+mj-lt"/>
              <a:buAutoNum type="arabicPeriod"/>
            </a:pPr>
            <a:r>
              <a:rPr lang="en-US" dirty="0"/>
              <a:t>Execute manipulations (and validations and tests)</a:t>
            </a:r>
          </a:p>
          <a:p>
            <a:pPr marL="475875" lvl="3" indent="-257175">
              <a:buFont typeface="+mj-lt"/>
              <a:buAutoNum type="arabicPeriod"/>
            </a:pPr>
            <a:r>
              <a:rPr lang="en-US" dirty="0"/>
              <a:t>Export from build environment</a:t>
            </a:r>
          </a:p>
          <a:p>
            <a:pPr marL="475875" lvl="3" indent="-257175">
              <a:buFont typeface="+mj-lt"/>
              <a:buAutoNum type="arabicPeriod"/>
            </a:pPr>
            <a:r>
              <a:rPr lang="en-US" dirty="0"/>
              <a:t>Import on target environment</a:t>
            </a:r>
          </a:p>
        </p:txBody>
      </p:sp>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Common Requirement: Asset Manipulation During Staging</a:t>
            </a:r>
          </a:p>
        </p:txBody>
      </p:sp>
      <p:sp>
        <p:nvSpPr>
          <p:cNvPr id="2" name="Fußzeilenplatzhalter 1">
            <a:extLst>
              <a:ext uri="{FF2B5EF4-FFF2-40B4-BE49-F238E27FC236}">
                <a16:creationId xmlns:a16="http://schemas.microsoft.com/office/drawing/2014/main" id="{1F86711E-92FA-44F4-9894-A93966ED6117}"/>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32</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Possible approaches for this requirement</a:t>
            </a:r>
          </a:p>
        </p:txBody>
      </p:sp>
      <p:sp>
        <p:nvSpPr>
          <p:cNvPr id="8" name="Pfeil: Fünfeck 7">
            <a:extLst>
              <a:ext uri="{FF2B5EF4-FFF2-40B4-BE49-F238E27FC236}">
                <a16:creationId xmlns:a16="http://schemas.microsoft.com/office/drawing/2014/main" id="{4AD8E0B0-8958-4018-A90C-07214EBF8132}"/>
              </a:ext>
            </a:extLst>
          </p:cNvPr>
          <p:cNvSpPr/>
          <p:nvPr>
            <p:custDataLst>
              <p:tags r:id="rId2"/>
            </p:custDataLst>
          </p:nvPr>
        </p:nvSpPr>
        <p:spPr>
          <a:xfrm>
            <a:off x="4990354" y="3352800"/>
            <a:ext cx="729129" cy="836706"/>
          </a:xfrm>
          <a:prstGeom prst="homePlat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13" name="Textfeld 12">
            <a:extLst>
              <a:ext uri="{FF2B5EF4-FFF2-40B4-BE49-F238E27FC236}">
                <a16:creationId xmlns:a16="http://schemas.microsoft.com/office/drawing/2014/main" id="{3BB7A25F-048E-48D9-901A-BAAC579DB4D2}"/>
              </a:ext>
            </a:extLst>
          </p:cNvPr>
          <p:cNvSpPr txBox="1"/>
          <p:nvPr>
            <p:custDataLst>
              <p:tags r:id="rId3"/>
            </p:custDataLst>
          </p:nvPr>
        </p:nvSpPr>
        <p:spPr>
          <a:xfrm>
            <a:off x="5856940" y="3401821"/>
            <a:ext cx="2967317" cy="738664"/>
          </a:xfrm>
          <a:prstGeom prst="rect">
            <a:avLst/>
          </a:prstGeom>
          <a:noFill/>
          <a:ln w="6350">
            <a:solidFill>
              <a:schemeClr val="accent1"/>
            </a:solidFill>
          </a:ln>
        </p:spPr>
        <p:txBody>
          <a:bodyPr wrap="square">
            <a:spAutoFit/>
          </a:bodyPr>
          <a:lstStyle/>
          <a:p>
            <a:r>
              <a:rPr lang="en-US" dirty="0"/>
              <a:t>This approach was implemented in the API Gateway Staging solution</a:t>
            </a:r>
          </a:p>
        </p:txBody>
      </p:sp>
    </p:spTree>
    <p:extLst>
      <p:ext uri="{BB962C8B-B14F-4D97-AF65-F5344CB8AC3E}">
        <p14:creationId xmlns:p14="http://schemas.microsoft.com/office/powerpoint/2010/main" val="20807171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70AFF2-F7F1-45BB-B20D-CF5B886050C0}"/>
              </a:ext>
            </a:extLst>
          </p:cNvPr>
          <p:cNvSpPr>
            <a:spLocks noGrp="1"/>
          </p:cNvSpPr>
          <p:nvPr>
            <p:ph type="subTitle" sz="quarter" idx="1"/>
          </p:nvPr>
        </p:nvSpPr>
        <p:spPr/>
        <p:txBody>
          <a:bodyPr/>
          <a:lstStyle/>
          <a:p>
            <a:endParaRPr lang="de-DE" dirty="0"/>
          </a:p>
        </p:txBody>
      </p:sp>
      <p:sp>
        <p:nvSpPr>
          <p:cNvPr id="23" name="Footer Placeholder 22">
            <a:extLst>
              <a:ext uri="{FF2B5EF4-FFF2-40B4-BE49-F238E27FC236}">
                <a16:creationId xmlns:a16="http://schemas.microsoft.com/office/drawing/2014/main" id="{73126F4B-7F63-3BBF-391D-88CD3063A106}"/>
              </a:ext>
            </a:extLst>
          </p:cNvPr>
          <p:cNvSpPr>
            <a:spLocks noGrp="1"/>
          </p:cNvSpPr>
          <p:nvPr>
            <p:ph type="ftr" sz="quarter" idx="11"/>
          </p:nvPr>
        </p:nvSpPr>
        <p:spPr/>
        <p:txBody>
          <a:bodyPr/>
          <a:lstStyle/>
          <a:p>
            <a:r>
              <a:rPr lang="en-US"/>
              <a:t>© 2024 Software AG. All rights reserved. For internal use only and for Software AG Partners.</a:t>
            </a:r>
            <a:endParaRPr lang="en-US" dirty="0"/>
          </a:p>
        </p:txBody>
      </p:sp>
      <p:sp>
        <p:nvSpPr>
          <p:cNvPr id="27" name="Slide Number Placeholder 26">
            <a:extLst>
              <a:ext uri="{FF2B5EF4-FFF2-40B4-BE49-F238E27FC236}">
                <a16:creationId xmlns:a16="http://schemas.microsoft.com/office/drawing/2014/main" id="{4470923D-CA9D-5FFA-1411-22E71E34E986}"/>
              </a:ext>
            </a:extLst>
          </p:cNvPr>
          <p:cNvSpPr>
            <a:spLocks noGrp="1"/>
          </p:cNvSpPr>
          <p:nvPr>
            <p:ph type="sldNum" sz="quarter" idx="12"/>
          </p:nvPr>
        </p:nvSpPr>
        <p:spPr/>
        <p:txBody>
          <a:bodyPr/>
          <a:lstStyle/>
          <a:p>
            <a:fld id="{22FF84AA-2C76-4AF1-8502-73D25D47F37C}" type="slidenum">
              <a:rPr lang="en-US" smtClean="0"/>
              <a:pPr/>
              <a:t>33</a:t>
            </a:fld>
            <a:endParaRPr lang="en-US" dirty="0"/>
          </a:p>
        </p:txBody>
      </p:sp>
      <p:grpSp>
        <p:nvGrpSpPr>
          <p:cNvPr id="31" name="Group 30">
            <a:extLst>
              <a:ext uri="{FF2B5EF4-FFF2-40B4-BE49-F238E27FC236}">
                <a16:creationId xmlns:a16="http://schemas.microsoft.com/office/drawing/2014/main" id="{6FE3CDB7-33B3-E9F2-52A1-B4575C397605}"/>
              </a:ext>
            </a:extLst>
          </p:cNvPr>
          <p:cNvGrpSpPr/>
          <p:nvPr>
            <p:custDataLst>
              <p:tags r:id="rId2"/>
            </p:custDataLst>
          </p:nvPr>
        </p:nvGrpSpPr>
        <p:grpSpPr>
          <a:xfrm>
            <a:off x="272026" y="1259794"/>
            <a:ext cx="6852048" cy="2041200"/>
            <a:chOff x="272026" y="1259794"/>
            <a:chExt cx="6852048" cy="2041200"/>
          </a:xfrm>
        </p:grpSpPr>
        <p:grpSp>
          <p:nvGrpSpPr>
            <p:cNvPr id="26" name="MIO_AGENDA_ELEMENT_DECORATOR_4">
              <a:extLst>
                <a:ext uri="{FF2B5EF4-FFF2-40B4-BE49-F238E27FC236}">
                  <a16:creationId xmlns:a16="http://schemas.microsoft.com/office/drawing/2014/main" id="{1A8D0AF9-D849-489E-955F-E4F60B6BF84B}"/>
                </a:ext>
              </a:extLst>
            </p:cNvPr>
            <p:cNvGrpSpPr/>
            <p:nvPr>
              <p:custDataLst>
                <p:tags r:id="rId4"/>
              </p:custDataLst>
            </p:nvPr>
          </p:nvGrpSpPr>
          <p:grpSpPr>
            <a:xfrm>
              <a:off x="272026" y="2790694"/>
              <a:ext cx="6852048" cy="510300"/>
              <a:chOff x="362701" y="2360125"/>
              <a:chExt cx="9136064" cy="680400"/>
            </a:xfrm>
          </p:grpSpPr>
          <p:sp>
            <p:nvSpPr>
              <p:cNvPr id="28" name="MIO_AGENDA_ELEMENT_DECORATOR_4">
                <a:extLst>
                  <a:ext uri="{FF2B5EF4-FFF2-40B4-BE49-F238E27FC236}">
                    <a16:creationId xmlns:a16="http://schemas.microsoft.com/office/drawing/2014/main" id="{DDFD1C8D-67FD-455B-9704-1CE16FFAA7A2}"/>
                  </a:ext>
                </a:extLst>
              </p:cNvPr>
              <p:cNvSpPr>
                <a:spLocks/>
              </p:cNvSpPr>
              <p:nvPr/>
            </p:nvSpPr>
            <p:spPr>
              <a:xfrm>
                <a:off x="362701" y="2360125"/>
                <a:ext cx="9136064" cy="680400"/>
              </a:xfrm>
              <a:prstGeom prst="rect">
                <a:avLst/>
              </a:prstGeom>
              <a:solidFill>
                <a:schemeClr val="accent1"/>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endParaRPr lang="de-DE" sz="1350" dirty="0">
                  <a:solidFill>
                    <a:schemeClr val="tx1"/>
                  </a:solidFill>
                </a:endParaRPr>
              </a:p>
            </p:txBody>
          </p:sp>
          <p:cxnSp>
            <p:nvCxnSpPr>
              <p:cNvPr id="29" name="MIO_AGENDA_ELEMENT_DECORATOR_4">
                <a:extLst>
                  <a:ext uri="{FF2B5EF4-FFF2-40B4-BE49-F238E27FC236}">
                    <a16:creationId xmlns:a16="http://schemas.microsoft.com/office/drawing/2014/main" id="{2FE8F699-9CAD-48EA-B487-78EB1D3307A8}"/>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MIO_AGENDA_ELEMENT_DECORATOR_4">
                <a:extLst>
                  <a:ext uri="{FF2B5EF4-FFF2-40B4-BE49-F238E27FC236}">
                    <a16:creationId xmlns:a16="http://schemas.microsoft.com/office/drawing/2014/main" id="{5E5E54F6-1EA0-4CBA-8FD9-A9BE679583B4}"/>
                  </a:ext>
                </a:extLst>
              </p:cNvPr>
              <p:cNvCxnSpPr>
                <a:cxnSpLocks/>
              </p:cNvCxnSpPr>
              <p:nvPr/>
            </p:nvCxnSpPr>
            <p:spPr>
              <a:xfrm>
                <a:off x="362701" y="30405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9" name="MIO_AGENDA_ELEMENT_DECORATOR_3">
              <a:extLst>
                <a:ext uri="{FF2B5EF4-FFF2-40B4-BE49-F238E27FC236}">
                  <a16:creationId xmlns:a16="http://schemas.microsoft.com/office/drawing/2014/main" id="{F6C87C0E-1651-4964-8214-4B8A6FB75CB9}"/>
                </a:ext>
              </a:extLst>
            </p:cNvPr>
            <p:cNvGrpSpPr/>
            <p:nvPr>
              <p:custDataLst>
                <p:tags r:id="rId5"/>
              </p:custDataLst>
            </p:nvPr>
          </p:nvGrpSpPr>
          <p:grpSpPr>
            <a:xfrm>
              <a:off x="272026" y="2280394"/>
              <a:ext cx="6852048" cy="510300"/>
              <a:chOff x="362701" y="1679725"/>
              <a:chExt cx="9136064" cy="680400"/>
            </a:xfrm>
          </p:grpSpPr>
          <p:cxnSp>
            <p:nvCxnSpPr>
              <p:cNvPr id="20" name="MIO_AGENDA_ELEMENT_DECORATOR_3">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MIO_AGENDA_ELEMENT_DECORATOR_3">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3" name="MIO_AGENDA_ELEMENT_DECORATOR_2">
              <a:extLst>
                <a:ext uri="{FF2B5EF4-FFF2-40B4-BE49-F238E27FC236}">
                  <a16:creationId xmlns:a16="http://schemas.microsoft.com/office/drawing/2014/main" id="{F6C87C0E-1651-4964-8214-4B8A6FB75CB9}"/>
                </a:ext>
              </a:extLst>
            </p:cNvPr>
            <p:cNvGrpSpPr/>
            <p:nvPr>
              <p:custDataLst>
                <p:tags r:id="rId6"/>
              </p:custDataLst>
            </p:nvPr>
          </p:nvGrpSpPr>
          <p:grpSpPr>
            <a:xfrm>
              <a:off x="272026" y="1770094"/>
              <a:ext cx="6852048" cy="510300"/>
              <a:chOff x="362701" y="1679725"/>
              <a:chExt cx="9136064" cy="680400"/>
            </a:xfrm>
          </p:grpSpPr>
          <p:cxnSp>
            <p:nvCxnSpPr>
              <p:cNvPr id="14" name="MIO_AGENDA_ELEMENT_DECORATOR_2">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MIO_AGENDA_ELEMENT_DECORATOR_2">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 name="MIO_AGENDA_ELEMENT_DECORATOR_1">
              <a:extLst>
                <a:ext uri="{FF2B5EF4-FFF2-40B4-BE49-F238E27FC236}">
                  <a16:creationId xmlns:a16="http://schemas.microsoft.com/office/drawing/2014/main" id="{F6C87C0E-1651-4964-8214-4B8A6FB75CB9}"/>
                </a:ext>
              </a:extLst>
            </p:cNvPr>
            <p:cNvGrpSpPr/>
            <p:nvPr>
              <p:custDataLst>
                <p:tags r:id="rId7"/>
              </p:custDataLst>
            </p:nvPr>
          </p:nvGrpSpPr>
          <p:grpSpPr>
            <a:xfrm>
              <a:off x="272026" y="1259794"/>
              <a:ext cx="6852048" cy="510300"/>
              <a:chOff x="362701" y="1679725"/>
              <a:chExt cx="9136064" cy="680400"/>
            </a:xfrm>
          </p:grpSpPr>
          <p:cxnSp>
            <p:nvCxnSpPr>
              <p:cNvPr id="8" name="MIO_AGENDA_ELEMENT_DECORATOR_1">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MIO_AGENDA_ELEMENT_DECORATOR_1">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MIO_AGENDA_ELEMENT_TITEL_1">
              <a:hlinkClick r:id="rId22" action="ppaction://hlinksldjump"/>
              <a:extLst>
                <a:ext uri="{FF2B5EF4-FFF2-40B4-BE49-F238E27FC236}">
                  <a16:creationId xmlns:a16="http://schemas.microsoft.com/office/drawing/2014/main" id="{B61CB580-DF8B-48AF-BCE7-BFEC15B6A502}"/>
                </a:ext>
              </a:extLst>
            </p:cNvPr>
            <p:cNvSpPr>
              <a:spLocks/>
            </p:cNvSpPr>
            <p:nvPr>
              <p:custDataLst>
                <p:tags r:id="rId8"/>
              </p:custDataLst>
            </p:nvPr>
          </p:nvSpPr>
          <p:spPr>
            <a:xfrm>
              <a:off x="708423" y="12597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en-US" sz="1500">
                  <a:solidFill>
                    <a:schemeClr val="tx1"/>
                  </a:solidFill>
                </a:rPr>
                <a:t>webMethods API Gateway Staging Solution Overview</a:t>
              </a:r>
              <a:endParaRPr lang="de-DE" sz="1500" dirty="0">
                <a:solidFill>
                  <a:schemeClr val="tx1"/>
                </a:solidFill>
              </a:endParaRPr>
            </a:p>
          </p:txBody>
        </p:sp>
        <p:sp>
          <p:nvSpPr>
            <p:cNvPr id="4" name="MIO_AGENDA_ELEMENT_ELEMENTNUMBER_1">
              <a:hlinkClick r:id="rId22" action="ppaction://hlinksldjump"/>
              <a:extLst>
                <a:ext uri="{FF2B5EF4-FFF2-40B4-BE49-F238E27FC236}">
                  <a16:creationId xmlns:a16="http://schemas.microsoft.com/office/drawing/2014/main" id="{1E6469EE-1B98-4322-AEB5-C9BF1E8A474D}"/>
                </a:ext>
              </a:extLst>
            </p:cNvPr>
            <p:cNvSpPr>
              <a:spLocks/>
            </p:cNvSpPr>
            <p:nvPr>
              <p:custDataLst>
                <p:tags r:id="rId9"/>
              </p:custDataLst>
            </p:nvPr>
          </p:nvSpPr>
          <p:spPr>
            <a:xfrm>
              <a:off x="303607" y="12597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1</a:t>
              </a:r>
              <a:endParaRPr lang="de-DE" sz="1500" dirty="0">
                <a:solidFill>
                  <a:schemeClr val="tx1"/>
                </a:solidFill>
              </a:endParaRPr>
            </a:p>
          </p:txBody>
        </p:sp>
        <p:sp>
          <p:nvSpPr>
            <p:cNvPr id="6" name="MIO_AGENDA_ELEMENT_PAGENUMBER_1">
              <a:hlinkClick r:id="rId22" action="ppaction://hlinksldjump"/>
              <a:extLst>
                <a:ext uri="{FF2B5EF4-FFF2-40B4-BE49-F238E27FC236}">
                  <a16:creationId xmlns:a16="http://schemas.microsoft.com/office/drawing/2014/main" id="{188A44A1-90B2-4719-B50D-B1923DD2398F}"/>
                </a:ext>
              </a:extLst>
            </p:cNvPr>
            <p:cNvSpPr>
              <a:spLocks/>
            </p:cNvSpPr>
            <p:nvPr>
              <p:custDataLst>
                <p:tags r:id="rId10"/>
              </p:custDataLst>
            </p:nvPr>
          </p:nvSpPr>
          <p:spPr>
            <a:xfrm>
              <a:off x="6611209" y="12597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4</a:t>
              </a:r>
              <a:endParaRPr lang="de-DE" sz="1500" dirty="0">
                <a:solidFill>
                  <a:schemeClr val="tx1"/>
                </a:solidFill>
              </a:endParaRPr>
            </a:p>
          </p:txBody>
        </p:sp>
        <p:sp>
          <p:nvSpPr>
            <p:cNvPr id="10" name="MIO_AGENDA_ELEMENT_TITEL_2">
              <a:hlinkClick r:id="rId23" action="ppaction://hlinksldjump"/>
              <a:extLst>
                <a:ext uri="{FF2B5EF4-FFF2-40B4-BE49-F238E27FC236}">
                  <a16:creationId xmlns:a16="http://schemas.microsoft.com/office/drawing/2014/main" id="{B61CB580-DF8B-48AF-BCE7-BFEC15B6A502}"/>
                </a:ext>
              </a:extLst>
            </p:cNvPr>
            <p:cNvSpPr>
              <a:spLocks/>
            </p:cNvSpPr>
            <p:nvPr>
              <p:custDataLst>
                <p:tags r:id="rId11"/>
              </p:custDataLst>
            </p:nvPr>
          </p:nvSpPr>
          <p:spPr>
            <a:xfrm>
              <a:off x="708423" y="17700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Implementation and Configuration</a:t>
              </a:r>
              <a:endParaRPr lang="de-DE" sz="1500" dirty="0">
                <a:solidFill>
                  <a:schemeClr val="tx1"/>
                </a:solidFill>
              </a:endParaRPr>
            </a:p>
          </p:txBody>
        </p:sp>
        <p:sp>
          <p:nvSpPr>
            <p:cNvPr id="11" name="MIO_AGENDA_ELEMENT_ELEMENTNUMBER_2">
              <a:hlinkClick r:id="rId23" action="ppaction://hlinksldjump"/>
              <a:extLst>
                <a:ext uri="{FF2B5EF4-FFF2-40B4-BE49-F238E27FC236}">
                  <a16:creationId xmlns:a16="http://schemas.microsoft.com/office/drawing/2014/main" id="{1E6469EE-1B98-4322-AEB5-C9BF1E8A474D}"/>
                </a:ext>
              </a:extLst>
            </p:cNvPr>
            <p:cNvSpPr>
              <a:spLocks/>
            </p:cNvSpPr>
            <p:nvPr>
              <p:custDataLst>
                <p:tags r:id="rId12"/>
              </p:custDataLst>
            </p:nvPr>
          </p:nvSpPr>
          <p:spPr>
            <a:xfrm>
              <a:off x="303607" y="17700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2</a:t>
              </a:r>
              <a:endParaRPr lang="de-DE" sz="1500" dirty="0">
                <a:solidFill>
                  <a:schemeClr val="tx1"/>
                </a:solidFill>
              </a:endParaRPr>
            </a:p>
          </p:txBody>
        </p:sp>
        <p:sp>
          <p:nvSpPr>
            <p:cNvPr id="12" name="MIO_AGENDA_ELEMENT_PAGENUMBER_2">
              <a:hlinkClick r:id="rId23" action="ppaction://hlinksldjump"/>
              <a:extLst>
                <a:ext uri="{FF2B5EF4-FFF2-40B4-BE49-F238E27FC236}">
                  <a16:creationId xmlns:a16="http://schemas.microsoft.com/office/drawing/2014/main" id="{188A44A1-90B2-4719-B50D-B1923DD2398F}"/>
                </a:ext>
              </a:extLst>
            </p:cNvPr>
            <p:cNvSpPr>
              <a:spLocks/>
            </p:cNvSpPr>
            <p:nvPr>
              <p:custDataLst>
                <p:tags r:id="rId13"/>
              </p:custDataLst>
            </p:nvPr>
          </p:nvSpPr>
          <p:spPr>
            <a:xfrm>
              <a:off x="6611209" y="17700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11</a:t>
              </a:r>
              <a:endParaRPr lang="de-DE" sz="1500" dirty="0">
                <a:solidFill>
                  <a:schemeClr val="tx1"/>
                </a:solidFill>
              </a:endParaRPr>
            </a:p>
          </p:txBody>
        </p:sp>
        <p:sp>
          <p:nvSpPr>
            <p:cNvPr id="16" name="MIO_AGENDA_ELEMENT_TITEL_3">
              <a:hlinkClick r:id="rId24" action="ppaction://hlinksldjump"/>
              <a:extLst>
                <a:ext uri="{FF2B5EF4-FFF2-40B4-BE49-F238E27FC236}">
                  <a16:creationId xmlns:a16="http://schemas.microsoft.com/office/drawing/2014/main" id="{B61CB580-DF8B-48AF-BCE7-BFEC15B6A502}"/>
                </a:ext>
              </a:extLst>
            </p:cNvPr>
            <p:cNvSpPr>
              <a:spLocks/>
            </p:cNvSpPr>
            <p:nvPr>
              <p:custDataLst>
                <p:tags r:id="rId14"/>
              </p:custDataLst>
            </p:nvPr>
          </p:nvSpPr>
          <p:spPr>
            <a:xfrm>
              <a:off x="708423" y="22803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Alternative Approaches</a:t>
              </a:r>
              <a:endParaRPr lang="de-DE" sz="1500" dirty="0">
                <a:solidFill>
                  <a:schemeClr val="tx1"/>
                </a:solidFill>
              </a:endParaRPr>
            </a:p>
          </p:txBody>
        </p:sp>
        <p:sp>
          <p:nvSpPr>
            <p:cNvPr id="17" name="MIO_AGENDA_ELEMENT_ELEMENTNUMBER_3">
              <a:hlinkClick r:id="rId24" action="ppaction://hlinksldjump"/>
              <a:extLst>
                <a:ext uri="{FF2B5EF4-FFF2-40B4-BE49-F238E27FC236}">
                  <a16:creationId xmlns:a16="http://schemas.microsoft.com/office/drawing/2014/main" id="{1E6469EE-1B98-4322-AEB5-C9BF1E8A474D}"/>
                </a:ext>
              </a:extLst>
            </p:cNvPr>
            <p:cNvSpPr>
              <a:spLocks/>
            </p:cNvSpPr>
            <p:nvPr>
              <p:custDataLst>
                <p:tags r:id="rId15"/>
              </p:custDataLst>
            </p:nvPr>
          </p:nvSpPr>
          <p:spPr>
            <a:xfrm>
              <a:off x="303607" y="22803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3</a:t>
              </a:r>
              <a:endParaRPr lang="de-DE" sz="1500" dirty="0">
                <a:solidFill>
                  <a:schemeClr val="tx1"/>
                </a:solidFill>
              </a:endParaRPr>
            </a:p>
          </p:txBody>
        </p:sp>
        <p:sp>
          <p:nvSpPr>
            <p:cNvPr id="18" name="MIO_AGENDA_ELEMENT_PAGENUMBER_3">
              <a:hlinkClick r:id="rId24" action="ppaction://hlinksldjump"/>
              <a:extLst>
                <a:ext uri="{FF2B5EF4-FFF2-40B4-BE49-F238E27FC236}">
                  <a16:creationId xmlns:a16="http://schemas.microsoft.com/office/drawing/2014/main" id="{188A44A1-90B2-4719-B50D-B1923DD2398F}"/>
                </a:ext>
              </a:extLst>
            </p:cNvPr>
            <p:cNvSpPr>
              <a:spLocks/>
            </p:cNvSpPr>
            <p:nvPr>
              <p:custDataLst>
                <p:tags r:id="rId16"/>
              </p:custDataLst>
            </p:nvPr>
          </p:nvSpPr>
          <p:spPr>
            <a:xfrm>
              <a:off x="6611209" y="22803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29</a:t>
              </a:r>
              <a:endParaRPr lang="de-DE" sz="1500" dirty="0">
                <a:solidFill>
                  <a:schemeClr val="tx1"/>
                </a:solidFill>
              </a:endParaRPr>
            </a:p>
          </p:txBody>
        </p:sp>
        <p:sp>
          <p:nvSpPr>
            <p:cNvPr id="22" name="MIO_AGENDA_ELEMENT_TITEL_4">
              <a:hlinkClick r:id="rId25" action="ppaction://hlinksldjump"/>
              <a:extLst>
                <a:ext uri="{FF2B5EF4-FFF2-40B4-BE49-F238E27FC236}">
                  <a16:creationId xmlns:a16="http://schemas.microsoft.com/office/drawing/2014/main" id="{F2184C5A-DA94-4008-81AA-34FDFCD6C478}"/>
                </a:ext>
              </a:extLst>
            </p:cNvPr>
            <p:cNvSpPr>
              <a:spLocks/>
            </p:cNvSpPr>
            <p:nvPr>
              <p:custDataLst>
                <p:tags r:id="rId17"/>
              </p:custDataLst>
            </p:nvPr>
          </p:nvSpPr>
          <p:spPr>
            <a:xfrm>
              <a:off x="708423" y="27906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b="1">
                  <a:solidFill>
                    <a:schemeClr val="bg1"/>
                  </a:solidFill>
                </a:rPr>
                <a:t>References</a:t>
              </a:r>
              <a:endParaRPr lang="de-DE" sz="1500" b="1" dirty="0">
                <a:solidFill>
                  <a:schemeClr val="bg1"/>
                </a:solidFill>
              </a:endParaRPr>
            </a:p>
          </p:txBody>
        </p:sp>
        <p:sp>
          <p:nvSpPr>
            <p:cNvPr id="24" name="MIO_AGENDA_ELEMENT_ELEMENTNUMBER_4">
              <a:hlinkClick r:id="rId25" action="ppaction://hlinksldjump"/>
              <a:extLst>
                <a:ext uri="{FF2B5EF4-FFF2-40B4-BE49-F238E27FC236}">
                  <a16:creationId xmlns:a16="http://schemas.microsoft.com/office/drawing/2014/main" id="{0FB473AD-EB04-417F-BAA5-CFA80CE721A4}"/>
                </a:ext>
              </a:extLst>
            </p:cNvPr>
            <p:cNvSpPr>
              <a:spLocks/>
            </p:cNvSpPr>
            <p:nvPr>
              <p:custDataLst>
                <p:tags r:id="rId18"/>
              </p:custDataLst>
            </p:nvPr>
          </p:nvSpPr>
          <p:spPr>
            <a:xfrm>
              <a:off x="307179" y="2790694"/>
              <a:ext cx="34349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4</a:t>
              </a:r>
              <a:endParaRPr lang="de-DE" sz="1500" b="1" dirty="0">
                <a:solidFill>
                  <a:schemeClr val="bg1"/>
                </a:solidFill>
              </a:endParaRPr>
            </a:p>
          </p:txBody>
        </p:sp>
        <p:sp>
          <p:nvSpPr>
            <p:cNvPr id="25" name="MIO_AGENDA_ELEMENT_PAGENUMBER_4">
              <a:hlinkClick r:id="rId25" action="ppaction://hlinksldjump"/>
              <a:extLst>
                <a:ext uri="{FF2B5EF4-FFF2-40B4-BE49-F238E27FC236}">
                  <a16:creationId xmlns:a16="http://schemas.microsoft.com/office/drawing/2014/main" id="{FC093E87-1577-48CA-AB00-5C075EC783E1}"/>
                </a:ext>
              </a:extLst>
            </p:cNvPr>
            <p:cNvSpPr>
              <a:spLocks/>
            </p:cNvSpPr>
            <p:nvPr>
              <p:custDataLst>
                <p:tags r:id="rId19"/>
              </p:custDataLst>
            </p:nvPr>
          </p:nvSpPr>
          <p:spPr>
            <a:xfrm>
              <a:off x="6611209" y="27906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33</a:t>
              </a:r>
              <a:endParaRPr lang="de-DE" sz="1500" b="1" dirty="0">
                <a:solidFill>
                  <a:schemeClr val="bg1"/>
                </a:solidFill>
              </a:endParaRPr>
            </a:p>
          </p:txBody>
        </p:sp>
      </p:grpSp>
      <p:sp>
        <p:nvSpPr>
          <p:cNvPr id="5" name="Title 4">
            <a:extLst>
              <a:ext uri="{FF2B5EF4-FFF2-40B4-BE49-F238E27FC236}">
                <a16:creationId xmlns:a16="http://schemas.microsoft.com/office/drawing/2014/main" id="{DF59139C-523E-7153-7B45-40433BF55885}"/>
              </a:ext>
            </a:extLst>
          </p:cNvPr>
          <p:cNvSpPr>
            <a:spLocks noGrp="1"/>
          </p:cNvSpPr>
          <p:nvPr>
            <p:ph type="title"/>
            <p:custDataLst>
              <p:tags r:id="rId3"/>
            </p:custDataLst>
          </p:nvPr>
        </p:nvSpPr>
        <p:spPr/>
        <p:txBody>
          <a:bodyPr/>
          <a:lstStyle/>
          <a:p>
            <a:r>
              <a:rPr lang="en-US"/>
              <a:t>Agenda</a:t>
            </a:r>
          </a:p>
        </p:txBody>
      </p:sp>
    </p:spTree>
    <p:custDataLst>
      <p:tags r:id="rId1"/>
    </p:custDataLst>
    <p:extLst>
      <p:ext uri="{BB962C8B-B14F-4D97-AF65-F5344CB8AC3E}">
        <p14:creationId xmlns:p14="http://schemas.microsoft.com/office/powerpoint/2010/main" val="3645886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PI Gateway Staging Solution</a:t>
            </a:r>
          </a:p>
        </p:txBody>
      </p:sp>
      <p:sp>
        <p:nvSpPr>
          <p:cNvPr id="2" name="Fußzeilenplatzhalter 1">
            <a:extLst>
              <a:ext uri="{FF2B5EF4-FFF2-40B4-BE49-F238E27FC236}">
                <a16:creationId xmlns:a16="http://schemas.microsoft.com/office/drawing/2014/main" id="{E8541734-66F1-401B-A8DA-17101AD020BE}"/>
              </a:ext>
            </a:extLst>
          </p:cNvPr>
          <p:cNvSpPr>
            <a:spLocks noGrp="1"/>
          </p:cNvSpPr>
          <p:nvPr>
            <p:ph type="ftr" sz="quarter" idx="10"/>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1"/>
          </p:nvPr>
        </p:nvSpPr>
        <p:spPr/>
        <p:txBody>
          <a:bodyPr/>
          <a:lstStyle/>
          <a:p>
            <a:fld id="{22FF84AA-2C76-4AF1-8502-73D25D47F37C}" type="slidenum">
              <a:rPr lang="en-US"/>
              <a:pPr/>
              <a:t>34</a:t>
            </a:fld>
            <a:endParaRPr lang="en-US" dirty="0"/>
          </a:p>
        </p:txBody>
      </p:sp>
      <p:sp>
        <p:nvSpPr>
          <p:cNvPr id="10" name="Untertitel 9">
            <a:extLst>
              <a:ext uri="{FF2B5EF4-FFF2-40B4-BE49-F238E27FC236}">
                <a16:creationId xmlns:a16="http://schemas.microsoft.com/office/drawing/2014/main" id="{8ABA3F66-E73A-47A1-A36F-1F2561667F15}"/>
              </a:ext>
            </a:extLst>
          </p:cNvPr>
          <p:cNvSpPr>
            <a:spLocks noGrp="1"/>
          </p:cNvSpPr>
          <p:nvPr>
            <p:ph type="body" sz="quarter" idx="13"/>
          </p:nvPr>
        </p:nvSpPr>
        <p:spPr/>
        <p:txBody>
          <a:bodyPr/>
          <a:lstStyle/>
          <a:p>
            <a:r>
              <a:rPr lang="en-US" dirty="0"/>
              <a:t>References</a:t>
            </a:r>
          </a:p>
        </p:txBody>
      </p:sp>
      <p:sp>
        <p:nvSpPr>
          <p:cNvPr id="5" name="Inhaltsplatzhalter 4">
            <a:extLst>
              <a:ext uri="{FF2B5EF4-FFF2-40B4-BE49-F238E27FC236}">
                <a16:creationId xmlns:a16="http://schemas.microsoft.com/office/drawing/2014/main" id="{767DEA81-4437-4CA1-A5EF-9456F03826EB}"/>
              </a:ext>
            </a:extLst>
          </p:cNvPr>
          <p:cNvSpPr>
            <a:spLocks noGrp="1"/>
          </p:cNvSpPr>
          <p:nvPr>
            <p:ph sz="quarter" idx="4294967295"/>
            <p:custDataLst>
              <p:tags r:id="rId1"/>
            </p:custDataLst>
          </p:nvPr>
        </p:nvSpPr>
        <p:spPr>
          <a:xfrm>
            <a:off x="217612" y="1016055"/>
            <a:ext cx="8601075" cy="3498850"/>
          </a:xfrm>
        </p:spPr>
        <p:txBody>
          <a:bodyPr>
            <a:normAutofit/>
          </a:bodyPr>
          <a:lstStyle>
            <a:lvl1pPr marL="291600" indent="-291600" algn="l" defTabSz="972000" rtl="0" eaLnBrk="1" latinLnBrk="0" hangingPunct="1">
              <a:buClr>
                <a:schemeClr val="tx1"/>
              </a:buClr>
              <a:buFont typeface="Wingdings" panose="05000000000000000000" pitchFamily="2" charset="2"/>
              <a:buChar char="§"/>
            </a:lvl1pPr>
            <a:lvl2pPr marL="291600" indent="-291600" algn="l" defTabSz="972000" rtl="0" eaLnBrk="1" latinLnBrk="0" hangingPunct="1">
              <a:buClr>
                <a:schemeClr val="tx1"/>
              </a:buClr>
              <a:buFont typeface="Wingdings" panose="05000000000000000000" pitchFamily="2" charset="2"/>
              <a:buChar char="§"/>
            </a:lvl2pPr>
            <a:lvl3pPr marL="291600" indent="-291600" algn="l" defTabSz="972000" rtl="0" eaLnBrk="1" latinLnBrk="0" hangingPunct="1">
              <a:buClr>
                <a:schemeClr val="tx1"/>
              </a:buClr>
              <a:buFont typeface="Wingdings" panose="05000000000000000000" pitchFamily="2" charset="2"/>
              <a:buChar char="§"/>
            </a:lvl3pPr>
            <a:lvl4pPr marL="583200" indent="-291600" algn="l" defTabSz="972000" rtl="0" eaLnBrk="1" latinLnBrk="0" hangingPunct="1">
              <a:buClr>
                <a:schemeClr val="tx1"/>
              </a:buClr>
              <a:buFont typeface="Symbol" panose="05050102010706020507" pitchFamily="18" charset="2"/>
              <a:buChar char="-"/>
            </a:lvl4pPr>
            <a:lvl5pPr marL="874800" indent="-291600" algn="l" defTabSz="972000" rtl="0" eaLnBrk="1" latinLnBrk="0" hangingPunct="1">
              <a:buSzPct val="125000"/>
              <a:buFont typeface="Rubik" panose="00000500000000000000" pitchFamily="50" charset="-79"/>
              <a:buChar char="•"/>
            </a:lvl5pPr>
            <a:lvl6pPr marL="291600" indent="-291600" algn="l" defTabSz="972000" rtl="0" eaLnBrk="1" latinLnBrk="0" hangingPunct="1">
              <a:buFont typeface="+mj-lt"/>
              <a:buAutoNum type="arabicPeriod"/>
            </a:lvl6pPr>
          </a:lstStyle>
          <a:p>
            <a:pPr>
              <a:buFont typeface="Arial" panose="020B0604020202020204" pitchFamily="34" charset="0"/>
              <a:buChar char="•"/>
            </a:pPr>
            <a:r>
              <a:rPr lang="en-US" dirty="0"/>
              <a:t>Code and documentation can be found in GitHub: </a:t>
            </a:r>
            <a:r>
              <a:rPr lang="en-US" dirty="0">
                <a:solidFill>
                  <a:schemeClr val="accent1"/>
                </a:solidFill>
                <a:hlinkClick r:id="rId4">
                  <a:extLst>
                    <a:ext uri="{A12FA001-AC4F-418D-AE19-62706E023703}">
                      <ahyp:hlinkClr xmlns:ahyp="http://schemas.microsoft.com/office/drawing/2018/hyperlinkcolor" val="tx"/>
                    </a:ext>
                  </a:extLst>
                </a:hlinkClick>
              </a:rPr>
              <a:t>https://github.com/thesse1/webmethods-api-gateway-staging</a:t>
            </a:r>
            <a:endParaRPr lang="en-US" dirty="0">
              <a:solidFill>
                <a:schemeClr val="accent1"/>
              </a:solidFill>
            </a:endParaRPr>
          </a:p>
          <a:p>
            <a:pPr>
              <a:buFont typeface="Arial" panose="020B0604020202020204" pitchFamily="34" charset="0"/>
              <a:buChar char="•"/>
            </a:pPr>
            <a:r>
              <a:rPr lang="en-US" dirty="0"/>
              <a:t>PRIME Guide: </a:t>
            </a:r>
            <a:r>
              <a:rPr lang="en-US" dirty="0">
                <a:solidFill>
                  <a:schemeClr val="accent1"/>
                </a:solidFill>
                <a:hlinkClick r:id="rId5">
                  <a:extLst>
                    <a:ext uri="{A12FA001-AC4F-418D-AE19-62706E023703}">
                      <ahyp:hlinkClr xmlns:ahyp="http://schemas.microsoft.com/office/drawing/2018/hyperlinkcolor" val="tx"/>
                    </a:ext>
                  </a:extLst>
                </a:hlinkClick>
              </a:rPr>
              <a:t>API Gateway Staging Solution Set-up</a:t>
            </a:r>
            <a:endParaRPr lang="en-US" dirty="0">
              <a:solidFill>
                <a:schemeClr val="accent1"/>
              </a:solidFill>
            </a:endParaRPr>
          </a:p>
          <a:p>
            <a:pPr>
              <a:buFont typeface="Arial" panose="020B0604020202020204" pitchFamily="34" charset="0"/>
              <a:buChar char="•"/>
            </a:pPr>
            <a:r>
              <a:rPr lang="en-US" dirty="0"/>
              <a:t>Introduction with online demo: </a:t>
            </a:r>
            <a:r>
              <a:rPr lang="en-US" dirty="0">
                <a:solidFill>
                  <a:schemeClr val="accent1"/>
                </a:solidFill>
                <a:hlinkClick r:id="rId6">
                  <a:extLst>
                    <a:ext uri="{A12FA001-AC4F-418D-AE19-62706E023703}">
                      <ahyp:hlinkClr xmlns:ahyp="http://schemas.microsoft.com/office/drawing/2018/hyperlinkcolor" val="tx"/>
                    </a:ext>
                  </a:extLst>
                </a:hlinkClick>
              </a:rPr>
              <a:t>PS DACH &amp; Bulgaria Community Webcast</a:t>
            </a:r>
            <a:endParaRPr lang="en-US" dirty="0">
              <a:solidFill>
                <a:schemeClr val="accent1"/>
              </a:solidFill>
            </a:endParaRPr>
          </a:p>
          <a:p>
            <a:pPr>
              <a:buFont typeface="Arial" panose="020B0604020202020204" pitchFamily="34" charset="0"/>
              <a:buChar char="•"/>
            </a:pPr>
            <a:r>
              <a:rPr lang="en-US" dirty="0"/>
              <a:t>Possible alternatives for the automated initial configuration of API Gateway instances:</a:t>
            </a:r>
          </a:p>
          <a:p>
            <a:pPr lvl="3">
              <a:buFont typeface="Arial" panose="020B0604020202020204" pitchFamily="34" charset="0"/>
              <a:buChar char="•"/>
            </a:pPr>
            <a:r>
              <a:rPr lang="en-US" dirty="0">
                <a:solidFill>
                  <a:schemeClr val="accent1"/>
                </a:solidFill>
                <a:hlinkClick r:id="" action="ppaction://noaction">
                  <a:extLst>
                    <a:ext uri="{A12FA001-AC4F-418D-AE19-62706E023703}">
                      <ahyp:hlinkClr xmlns:ahyp="http://schemas.microsoft.com/office/drawing/2018/hyperlinkcolor" val="tx"/>
                    </a:ext>
                  </a:extLst>
                </a:hlinkClick>
              </a:rPr>
              <a:t>https://github.com/SoftwareAG/webmethods-api-gateway-ansible</a:t>
            </a:r>
          </a:p>
          <a:p>
            <a:pPr lvl="3">
              <a:buFont typeface="Arial" panose="020B0604020202020204" pitchFamily="34" charset="0"/>
              <a:buChar char="•"/>
            </a:pPr>
            <a:r>
              <a:rPr lang="en-US" dirty="0">
                <a:solidFill>
                  <a:schemeClr val="accent1"/>
                </a:solidFill>
                <a:hlinkClick r:id="" action="ppaction://noaction">
                  <a:extLst>
                    <a:ext uri="{A12FA001-AC4F-418D-AE19-62706E023703}">
                      <ahyp:hlinkClr xmlns:ahyp="http://schemas.microsoft.com/office/drawing/2018/hyperlinkcolor" val="tx"/>
                    </a:ext>
                  </a:extLst>
                </a:hlinkClick>
              </a:rPr>
              <a:t>https://github.com/SoftwareAG/sagdevops-ansible-roles</a:t>
            </a:r>
          </a:p>
          <a:p>
            <a:pPr lvl="3">
              <a:buFont typeface="Arial" panose="020B0604020202020204" pitchFamily="34" charset="0"/>
              <a:buChar char="•"/>
            </a:pPr>
            <a:r>
              <a:rPr lang="en-US" dirty="0">
                <a:solidFill>
                  <a:schemeClr val="accent1"/>
                </a:solidFill>
                <a:hlinkClick r:id="" action="ppaction://noaction">
                  <a:extLst>
                    <a:ext uri="{A12FA001-AC4F-418D-AE19-62706E023703}">
                      <ahyp:hlinkClr xmlns:ahyp="http://schemas.microsoft.com/office/drawing/2018/hyperlinkcolor" val="tx"/>
                    </a:ext>
                  </a:extLst>
                </a:hlinkClick>
              </a:rPr>
              <a:t>https://www.youtube.com/watch?v=a4Q4-MBPOA8</a:t>
            </a:r>
            <a:endParaRPr lang="en-US" dirty="0">
              <a:solidFill>
                <a:schemeClr val="accent1"/>
              </a:solidFill>
            </a:endParaRPr>
          </a:p>
        </p:txBody>
      </p:sp>
    </p:spTree>
    <p:extLst>
      <p:ext uri="{BB962C8B-B14F-4D97-AF65-F5344CB8AC3E}">
        <p14:creationId xmlns:p14="http://schemas.microsoft.com/office/powerpoint/2010/main" val="448281128"/>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B5F66EC-6154-4092-B9FD-7B4FA0B3EC80}"/>
              </a:ext>
            </a:extLst>
          </p:cNvPr>
          <p:cNvSpPr>
            <a:spLocks noGrp="1"/>
          </p:cNvSpPr>
          <p:nvPr>
            <p:ph type="sldNum" sz="quarter" idx="12"/>
          </p:nvPr>
        </p:nvSpPr>
        <p:spPr/>
        <p:txBody>
          <a:bodyPr/>
          <a:lstStyle/>
          <a:p>
            <a:fld id="{FBE75FA5-C509-4590-93CE-878685F65CB2}" type="slidenum">
              <a:rPr lang="en-US" smtClean="0"/>
              <a:pPr/>
              <a:t>35</a:t>
            </a:fld>
            <a:endParaRPr lang="en-US" dirty="0"/>
          </a:p>
        </p:txBody>
      </p:sp>
      <p:sp>
        <p:nvSpPr>
          <p:cNvPr id="2" name="Fußzeilenplatzhalter 1">
            <a:extLst>
              <a:ext uri="{FF2B5EF4-FFF2-40B4-BE49-F238E27FC236}">
                <a16:creationId xmlns:a16="http://schemas.microsoft.com/office/drawing/2014/main" id="{850E30F2-687B-486B-87B1-96F560D70384}"/>
              </a:ext>
            </a:extLst>
          </p:cNvPr>
          <p:cNvSpPr>
            <a:spLocks noGrp="1"/>
          </p:cNvSpPr>
          <p:nvPr>
            <p:ph type="ftr" sz="quarter" idx="11"/>
          </p:nvPr>
        </p:nvSpPr>
        <p:spPr/>
        <p:txBody>
          <a:bodyPr/>
          <a:lstStyle/>
          <a:p>
            <a:r>
              <a:rPr lang="en-US" dirty="0"/>
              <a:t>© 2024 Software AG. All rights reserved. For internal use only and for Software AG Partners.</a:t>
            </a:r>
          </a:p>
        </p:txBody>
      </p:sp>
    </p:spTree>
    <p:extLst>
      <p:ext uri="{BB962C8B-B14F-4D97-AF65-F5344CB8AC3E}">
        <p14:creationId xmlns:p14="http://schemas.microsoft.com/office/powerpoint/2010/main" val="1257959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70AFF2-F7F1-45BB-B20D-CF5B886050C0}"/>
              </a:ext>
            </a:extLst>
          </p:cNvPr>
          <p:cNvSpPr>
            <a:spLocks noGrp="1"/>
          </p:cNvSpPr>
          <p:nvPr>
            <p:ph type="subTitle" sz="quarter" idx="1"/>
          </p:nvPr>
        </p:nvSpPr>
        <p:spPr/>
        <p:txBody>
          <a:bodyPr/>
          <a:lstStyle/>
          <a:p>
            <a:endParaRPr lang="de-DE" dirty="0"/>
          </a:p>
        </p:txBody>
      </p:sp>
      <p:sp>
        <p:nvSpPr>
          <p:cNvPr id="23" name="Footer Placeholder 22">
            <a:extLst>
              <a:ext uri="{FF2B5EF4-FFF2-40B4-BE49-F238E27FC236}">
                <a16:creationId xmlns:a16="http://schemas.microsoft.com/office/drawing/2014/main" id="{73126F4B-7F63-3BBF-391D-88CD3063A106}"/>
              </a:ext>
            </a:extLst>
          </p:cNvPr>
          <p:cNvSpPr>
            <a:spLocks noGrp="1"/>
          </p:cNvSpPr>
          <p:nvPr>
            <p:ph type="ftr" sz="quarter" idx="11"/>
          </p:nvPr>
        </p:nvSpPr>
        <p:spPr/>
        <p:txBody>
          <a:bodyPr/>
          <a:lstStyle/>
          <a:p>
            <a:r>
              <a:rPr lang="en-US"/>
              <a:t>© 2024 Software AG. All rights reserved. For internal use only and for Software AG Partners.</a:t>
            </a:r>
            <a:endParaRPr lang="en-US" dirty="0"/>
          </a:p>
        </p:txBody>
      </p:sp>
      <p:sp>
        <p:nvSpPr>
          <p:cNvPr id="27" name="Slide Number Placeholder 26">
            <a:extLst>
              <a:ext uri="{FF2B5EF4-FFF2-40B4-BE49-F238E27FC236}">
                <a16:creationId xmlns:a16="http://schemas.microsoft.com/office/drawing/2014/main" id="{4470923D-CA9D-5FFA-1411-22E71E34E986}"/>
              </a:ext>
            </a:extLst>
          </p:cNvPr>
          <p:cNvSpPr>
            <a:spLocks noGrp="1"/>
          </p:cNvSpPr>
          <p:nvPr>
            <p:ph type="sldNum" sz="quarter" idx="12"/>
          </p:nvPr>
        </p:nvSpPr>
        <p:spPr/>
        <p:txBody>
          <a:bodyPr/>
          <a:lstStyle/>
          <a:p>
            <a:fld id="{22FF84AA-2C76-4AF1-8502-73D25D47F37C}" type="slidenum">
              <a:rPr lang="en-US" smtClean="0"/>
              <a:pPr/>
              <a:t>4</a:t>
            </a:fld>
            <a:endParaRPr lang="en-US" dirty="0"/>
          </a:p>
        </p:txBody>
      </p:sp>
      <p:grpSp>
        <p:nvGrpSpPr>
          <p:cNvPr id="31" name="Group 30">
            <a:extLst>
              <a:ext uri="{FF2B5EF4-FFF2-40B4-BE49-F238E27FC236}">
                <a16:creationId xmlns:a16="http://schemas.microsoft.com/office/drawing/2014/main" id="{DD358897-77A8-522A-432B-983C555CEE8E}"/>
              </a:ext>
            </a:extLst>
          </p:cNvPr>
          <p:cNvGrpSpPr/>
          <p:nvPr>
            <p:custDataLst>
              <p:tags r:id="rId2"/>
            </p:custDataLst>
          </p:nvPr>
        </p:nvGrpSpPr>
        <p:grpSpPr>
          <a:xfrm>
            <a:off x="272026" y="1259794"/>
            <a:ext cx="6852048" cy="2041200"/>
            <a:chOff x="272026" y="1259794"/>
            <a:chExt cx="6852048" cy="2041200"/>
          </a:xfrm>
        </p:grpSpPr>
        <p:grpSp>
          <p:nvGrpSpPr>
            <p:cNvPr id="28" name="MIO_AGENDA_ELEMENT_DECORATOR_4">
              <a:extLst>
                <a:ext uri="{FF2B5EF4-FFF2-40B4-BE49-F238E27FC236}">
                  <a16:creationId xmlns:a16="http://schemas.microsoft.com/office/drawing/2014/main" id="{F6C87C0E-1651-4964-8214-4B8A6FB75CB9}"/>
                </a:ext>
              </a:extLst>
            </p:cNvPr>
            <p:cNvGrpSpPr/>
            <p:nvPr>
              <p:custDataLst>
                <p:tags r:id="rId4"/>
              </p:custDataLst>
            </p:nvPr>
          </p:nvGrpSpPr>
          <p:grpSpPr>
            <a:xfrm>
              <a:off x="272026" y="2790694"/>
              <a:ext cx="6852048" cy="510300"/>
              <a:chOff x="362701" y="1679725"/>
              <a:chExt cx="9136064" cy="680400"/>
            </a:xfrm>
          </p:grpSpPr>
          <p:cxnSp>
            <p:nvCxnSpPr>
              <p:cNvPr id="29" name="MIO_AGENDA_ELEMENT_DECORATOR_4">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MIO_AGENDA_ELEMENT_DECORATOR_4">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0" name="MIO_AGENDA_ELEMENT_DECORATOR_3">
              <a:extLst>
                <a:ext uri="{FF2B5EF4-FFF2-40B4-BE49-F238E27FC236}">
                  <a16:creationId xmlns:a16="http://schemas.microsoft.com/office/drawing/2014/main" id="{F6C87C0E-1651-4964-8214-4B8A6FB75CB9}"/>
                </a:ext>
              </a:extLst>
            </p:cNvPr>
            <p:cNvGrpSpPr/>
            <p:nvPr>
              <p:custDataLst>
                <p:tags r:id="rId5"/>
              </p:custDataLst>
            </p:nvPr>
          </p:nvGrpSpPr>
          <p:grpSpPr>
            <a:xfrm>
              <a:off x="272026" y="2280394"/>
              <a:ext cx="6852048" cy="510300"/>
              <a:chOff x="362701" y="1679725"/>
              <a:chExt cx="9136064" cy="680400"/>
            </a:xfrm>
          </p:grpSpPr>
          <p:cxnSp>
            <p:nvCxnSpPr>
              <p:cNvPr id="21" name="MIO_AGENDA_ELEMENT_DECORATOR_3">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MIO_AGENDA_ELEMENT_DECORATOR_3">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MIO_AGENDA_ELEMENT_DECORATOR_2">
              <a:extLst>
                <a:ext uri="{FF2B5EF4-FFF2-40B4-BE49-F238E27FC236}">
                  <a16:creationId xmlns:a16="http://schemas.microsoft.com/office/drawing/2014/main" id="{F6C87C0E-1651-4964-8214-4B8A6FB75CB9}"/>
                </a:ext>
              </a:extLst>
            </p:cNvPr>
            <p:cNvGrpSpPr/>
            <p:nvPr>
              <p:custDataLst>
                <p:tags r:id="rId6"/>
              </p:custDataLst>
            </p:nvPr>
          </p:nvGrpSpPr>
          <p:grpSpPr>
            <a:xfrm>
              <a:off x="272026" y="1770094"/>
              <a:ext cx="6852048" cy="510300"/>
              <a:chOff x="362701" y="1679725"/>
              <a:chExt cx="9136064" cy="680400"/>
            </a:xfrm>
          </p:grpSpPr>
          <p:cxnSp>
            <p:nvCxnSpPr>
              <p:cNvPr id="15" name="MIO_AGENDA_ELEMENT_DECORATOR_2">
                <a:extLst>
                  <a:ext uri="{FF2B5EF4-FFF2-40B4-BE49-F238E27FC236}">
                    <a16:creationId xmlns:a16="http://schemas.microsoft.com/office/drawing/2014/main" id="{D17F1784-2691-4FE4-AF82-B768FFFD942A}"/>
                  </a:ext>
                </a:extLst>
              </p:cNvPr>
              <p:cNvCxnSpPr>
                <a:cxnSpLocks/>
              </p:cNvCxnSpPr>
              <p:nvPr/>
            </p:nvCxnSpPr>
            <p:spPr>
              <a:xfrm>
                <a:off x="404808" y="1679725"/>
                <a:ext cx="909395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MIO_AGENDA_ELEMENT_DECORATOR_2">
                <a:extLst>
                  <a:ext uri="{FF2B5EF4-FFF2-40B4-BE49-F238E27FC236}">
                    <a16:creationId xmlns:a16="http://schemas.microsoft.com/office/drawing/2014/main" id="{8A05B422-1F71-4726-B6E5-7BAA31B63A84}"/>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 name="MIO_AGENDA_ELEMENT_DECORATOR_1">
              <a:extLst>
                <a:ext uri="{FF2B5EF4-FFF2-40B4-BE49-F238E27FC236}">
                  <a16:creationId xmlns:a16="http://schemas.microsoft.com/office/drawing/2014/main" id="{1A8D0AF9-D849-489E-955F-E4F60B6BF84B}"/>
                </a:ext>
              </a:extLst>
            </p:cNvPr>
            <p:cNvGrpSpPr/>
            <p:nvPr>
              <p:custDataLst>
                <p:tags r:id="rId7"/>
              </p:custDataLst>
            </p:nvPr>
          </p:nvGrpSpPr>
          <p:grpSpPr>
            <a:xfrm>
              <a:off x="272026" y="1259794"/>
              <a:ext cx="6852048" cy="510300"/>
              <a:chOff x="362701" y="2360125"/>
              <a:chExt cx="9136064" cy="680400"/>
            </a:xfrm>
          </p:grpSpPr>
          <p:sp>
            <p:nvSpPr>
              <p:cNvPr id="8" name="MIO_AGENDA_ELEMENT_DECORATOR_1">
                <a:extLst>
                  <a:ext uri="{FF2B5EF4-FFF2-40B4-BE49-F238E27FC236}">
                    <a16:creationId xmlns:a16="http://schemas.microsoft.com/office/drawing/2014/main" id="{DDFD1C8D-67FD-455B-9704-1CE16FFAA7A2}"/>
                  </a:ext>
                </a:extLst>
              </p:cNvPr>
              <p:cNvSpPr>
                <a:spLocks/>
              </p:cNvSpPr>
              <p:nvPr/>
            </p:nvSpPr>
            <p:spPr>
              <a:xfrm>
                <a:off x="362701" y="2360125"/>
                <a:ext cx="9136064" cy="680400"/>
              </a:xfrm>
              <a:prstGeom prst="rect">
                <a:avLst/>
              </a:prstGeom>
              <a:solidFill>
                <a:schemeClr val="accent1"/>
              </a:solidFill>
              <a:ln>
                <a:noFill/>
              </a:ln>
            </p:spPr>
            <p:style>
              <a:lnRef idx="3">
                <a:schemeClr val="lt1"/>
              </a:lnRef>
              <a:fillRef idx="1">
                <a:schemeClr val="accent1"/>
              </a:fillRef>
              <a:effectRef idx="2">
                <a:schemeClr val="accent1"/>
              </a:effectRef>
              <a:fontRef idx="minor">
                <a:schemeClr val="lt1"/>
              </a:fontRef>
            </p:style>
            <p:txBody>
              <a:bodyPr lIns="72900" tIns="72900" rIns="72900" bIns="729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endParaRPr lang="de-DE" sz="1350" dirty="0">
                  <a:solidFill>
                    <a:schemeClr val="tx1"/>
                  </a:solidFill>
                </a:endParaRPr>
              </a:p>
            </p:txBody>
          </p:sp>
          <p:cxnSp>
            <p:nvCxnSpPr>
              <p:cNvPr id="9" name="MIO_AGENDA_ELEMENT_DECORATOR_1">
                <a:extLst>
                  <a:ext uri="{FF2B5EF4-FFF2-40B4-BE49-F238E27FC236}">
                    <a16:creationId xmlns:a16="http://schemas.microsoft.com/office/drawing/2014/main" id="{2FE8F699-9CAD-48EA-B487-78EB1D3307A8}"/>
                  </a:ext>
                </a:extLst>
              </p:cNvPr>
              <p:cNvCxnSpPr>
                <a:cxnSpLocks/>
              </p:cNvCxnSpPr>
              <p:nvPr/>
            </p:nvCxnSpPr>
            <p:spPr>
              <a:xfrm>
                <a:off x="362701" y="23601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MIO_AGENDA_ELEMENT_DECORATOR_1">
                <a:extLst>
                  <a:ext uri="{FF2B5EF4-FFF2-40B4-BE49-F238E27FC236}">
                    <a16:creationId xmlns:a16="http://schemas.microsoft.com/office/drawing/2014/main" id="{5E5E54F6-1EA0-4CBA-8FD9-A9BE679583B4}"/>
                  </a:ext>
                </a:extLst>
              </p:cNvPr>
              <p:cNvCxnSpPr>
                <a:cxnSpLocks/>
              </p:cNvCxnSpPr>
              <p:nvPr/>
            </p:nvCxnSpPr>
            <p:spPr>
              <a:xfrm>
                <a:off x="362701" y="3040525"/>
                <a:ext cx="91360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MIO_AGENDA_ELEMENT_TITEL_1">
              <a:hlinkClick r:id="rId22" action="ppaction://hlinksldjump"/>
              <a:extLst>
                <a:ext uri="{FF2B5EF4-FFF2-40B4-BE49-F238E27FC236}">
                  <a16:creationId xmlns:a16="http://schemas.microsoft.com/office/drawing/2014/main" id="{F2184C5A-DA94-4008-81AA-34FDFCD6C478}"/>
                </a:ext>
              </a:extLst>
            </p:cNvPr>
            <p:cNvSpPr>
              <a:spLocks/>
            </p:cNvSpPr>
            <p:nvPr>
              <p:custDataLst>
                <p:tags r:id="rId8"/>
              </p:custDataLst>
            </p:nvPr>
          </p:nvSpPr>
          <p:spPr>
            <a:xfrm>
              <a:off x="708423" y="12597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en-US" sz="1500" b="1">
                  <a:solidFill>
                    <a:schemeClr val="bg1"/>
                  </a:solidFill>
                </a:rPr>
                <a:t>webMethods API Gateway Staging Solution Overview</a:t>
              </a:r>
              <a:endParaRPr lang="de-DE" sz="1500" b="1" dirty="0">
                <a:solidFill>
                  <a:schemeClr val="bg1"/>
                </a:solidFill>
              </a:endParaRPr>
            </a:p>
          </p:txBody>
        </p:sp>
        <p:sp>
          <p:nvSpPr>
            <p:cNvPr id="4" name="MIO_AGENDA_ELEMENT_ELEMENTNUMBER_1">
              <a:hlinkClick r:id="rId22" action="ppaction://hlinksldjump"/>
              <a:extLst>
                <a:ext uri="{FF2B5EF4-FFF2-40B4-BE49-F238E27FC236}">
                  <a16:creationId xmlns:a16="http://schemas.microsoft.com/office/drawing/2014/main" id="{0FB473AD-EB04-417F-BAA5-CFA80CE721A4}"/>
                </a:ext>
              </a:extLst>
            </p:cNvPr>
            <p:cNvSpPr>
              <a:spLocks/>
            </p:cNvSpPr>
            <p:nvPr>
              <p:custDataLst>
                <p:tags r:id="rId9"/>
              </p:custDataLst>
            </p:nvPr>
          </p:nvSpPr>
          <p:spPr>
            <a:xfrm>
              <a:off x="307179" y="1259794"/>
              <a:ext cx="34349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1</a:t>
              </a:r>
              <a:endParaRPr lang="de-DE" sz="1500" b="1" dirty="0">
                <a:solidFill>
                  <a:schemeClr val="bg1"/>
                </a:solidFill>
              </a:endParaRPr>
            </a:p>
          </p:txBody>
        </p:sp>
        <p:sp>
          <p:nvSpPr>
            <p:cNvPr id="6" name="MIO_AGENDA_ELEMENT_PAGENUMBER_1">
              <a:hlinkClick r:id="rId22" action="ppaction://hlinksldjump"/>
              <a:extLst>
                <a:ext uri="{FF2B5EF4-FFF2-40B4-BE49-F238E27FC236}">
                  <a16:creationId xmlns:a16="http://schemas.microsoft.com/office/drawing/2014/main" id="{FC093E87-1577-48CA-AB00-5C075EC783E1}"/>
                </a:ext>
              </a:extLst>
            </p:cNvPr>
            <p:cNvSpPr>
              <a:spLocks/>
            </p:cNvSpPr>
            <p:nvPr>
              <p:custDataLst>
                <p:tags r:id="rId10"/>
              </p:custDataLst>
            </p:nvPr>
          </p:nvSpPr>
          <p:spPr>
            <a:xfrm>
              <a:off x="6611209" y="12597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b="1">
                  <a:solidFill>
                    <a:schemeClr val="bg1"/>
                  </a:solidFill>
                </a:rPr>
                <a:t>4</a:t>
              </a:r>
              <a:endParaRPr lang="de-DE" sz="1500" b="1" dirty="0">
                <a:solidFill>
                  <a:schemeClr val="bg1"/>
                </a:solidFill>
              </a:endParaRPr>
            </a:p>
          </p:txBody>
        </p:sp>
        <p:sp>
          <p:nvSpPr>
            <p:cNvPr id="11" name="MIO_AGENDA_ELEMENT_TITEL_2">
              <a:hlinkClick r:id="rId23" action="ppaction://hlinksldjump"/>
              <a:extLst>
                <a:ext uri="{FF2B5EF4-FFF2-40B4-BE49-F238E27FC236}">
                  <a16:creationId xmlns:a16="http://schemas.microsoft.com/office/drawing/2014/main" id="{B61CB580-DF8B-48AF-BCE7-BFEC15B6A502}"/>
                </a:ext>
              </a:extLst>
            </p:cNvPr>
            <p:cNvSpPr>
              <a:spLocks/>
            </p:cNvSpPr>
            <p:nvPr>
              <p:custDataLst>
                <p:tags r:id="rId11"/>
              </p:custDataLst>
            </p:nvPr>
          </p:nvSpPr>
          <p:spPr>
            <a:xfrm>
              <a:off x="708423" y="17700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Implementation and Configuration</a:t>
              </a:r>
              <a:endParaRPr lang="de-DE" sz="1500" dirty="0">
                <a:solidFill>
                  <a:schemeClr val="tx1"/>
                </a:solidFill>
              </a:endParaRPr>
            </a:p>
          </p:txBody>
        </p:sp>
        <p:sp>
          <p:nvSpPr>
            <p:cNvPr id="12" name="MIO_AGENDA_ELEMENT_ELEMENTNUMBER_2">
              <a:hlinkClick r:id="rId23" action="ppaction://hlinksldjump"/>
              <a:extLst>
                <a:ext uri="{FF2B5EF4-FFF2-40B4-BE49-F238E27FC236}">
                  <a16:creationId xmlns:a16="http://schemas.microsoft.com/office/drawing/2014/main" id="{1E6469EE-1B98-4322-AEB5-C9BF1E8A474D}"/>
                </a:ext>
              </a:extLst>
            </p:cNvPr>
            <p:cNvSpPr>
              <a:spLocks/>
            </p:cNvSpPr>
            <p:nvPr>
              <p:custDataLst>
                <p:tags r:id="rId12"/>
              </p:custDataLst>
            </p:nvPr>
          </p:nvSpPr>
          <p:spPr>
            <a:xfrm>
              <a:off x="303607" y="17700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2</a:t>
              </a:r>
              <a:endParaRPr lang="de-DE" sz="1500" dirty="0">
                <a:solidFill>
                  <a:schemeClr val="tx1"/>
                </a:solidFill>
              </a:endParaRPr>
            </a:p>
          </p:txBody>
        </p:sp>
        <p:sp>
          <p:nvSpPr>
            <p:cNvPr id="13" name="MIO_AGENDA_ELEMENT_PAGENUMBER_2">
              <a:hlinkClick r:id="rId23" action="ppaction://hlinksldjump"/>
              <a:extLst>
                <a:ext uri="{FF2B5EF4-FFF2-40B4-BE49-F238E27FC236}">
                  <a16:creationId xmlns:a16="http://schemas.microsoft.com/office/drawing/2014/main" id="{188A44A1-90B2-4719-B50D-B1923DD2398F}"/>
                </a:ext>
              </a:extLst>
            </p:cNvPr>
            <p:cNvSpPr>
              <a:spLocks/>
            </p:cNvSpPr>
            <p:nvPr>
              <p:custDataLst>
                <p:tags r:id="rId13"/>
              </p:custDataLst>
            </p:nvPr>
          </p:nvSpPr>
          <p:spPr>
            <a:xfrm>
              <a:off x="6611209" y="17700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11</a:t>
              </a:r>
              <a:endParaRPr lang="de-DE" sz="1500" dirty="0">
                <a:solidFill>
                  <a:schemeClr val="tx1"/>
                </a:solidFill>
              </a:endParaRPr>
            </a:p>
          </p:txBody>
        </p:sp>
        <p:sp>
          <p:nvSpPr>
            <p:cNvPr id="17" name="MIO_AGENDA_ELEMENT_TITEL_3">
              <a:hlinkClick r:id="rId24" action="ppaction://hlinksldjump"/>
              <a:extLst>
                <a:ext uri="{FF2B5EF4-FFF2-40B4-BE49-F238E27FC236}">
                  <a16:creationId xmlns:a16="http://schemas.microsoft.com/office/drawing/2014/main" id="{B61CB580-DF8B-48AF-BCE7-BFEC15B6A502}"/>
                </a:ext>
              </a:extLst>
            </p:cNvPr>
            <p:cNvSpPr>
              <a:spLocks/>
            </p:cNvSpPr>
            <p:nvPr>
              <p:custDataLst>
                <p:tags r:id="rId14"/>
              </p:custDataLst>
            </p:nvPr>
          </p:nvSpPr>
          <p:spPr>
            <a:xfrm>
              <a:off x="708423" y="22803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Alternative Approaches</a:t>
              </a:r>
              <a:endParaRPr lang="de-DE" sz="1500" dirty="0">
                <a:solidFill>
                  <a:schemeClr val="tx1"/>
                </a:solidFill>
              </a:endParaRPr>
            </a:p>
          </p:txBody>
        </p:sp>
        <p:sp>
          <p:nvSpPr>
            <p:cNvPr id="18" name="MIO_AGENDA_ELEMENT_ELEMENTNUMBER_3">
              <a:hlinkClick r:id="rId24" action="ppaction://hlinksldjump"/>
              <a:extLst>
                <a:ext uri="{FF2B5EF4-FFF2-40B4-BE49-F238E27FC236}">
                  <a16:creationId xmlns:a16="http://schemas.microsoft.com/office/drawing/2014/main" id="{1E6469EE-1B98-4322-AEB5-C9BF1E8A474D}"/>
                </a:ext>
              </a:extLst>
            </p:cNvPr>
            <p:cNvSpPr>
              <a:spLocks/>
            </p:cNvSpPr>
            <p:nvPr>
              <p:custDataLst>
                <p:tags r:id="rId15"/>
              </p:custDataLst>
            </p:nvPr>
          </p:nvSpPr>
          <p:spPr>
            <a:xfrm>
              <a:off x="303607" y="22803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3</a:t>
              </a:r>
              <a:endParaRPr lang="de-DE" sz="1500" dirty="0">
                <a:solidFill>
                  <a:schemeClr val="tx1"/>
                </a:solidFill>
              </a:endParaRPr>
            </a:p>
          </p:txBody>
        </p:sp>
        <p:sp>
          <p:nvSpPr>
            <p:cNvPr id="19" name="MIO_AGENDA_ELEMENT_PAGENUMBER_3">
              <a:hlinkClick r:id="rId24" action="ppaction://hlinksldjump"/>
              <a:extLst>
                <a:ext uri="{FF2B5EF4-FFF2-40B4-BE49-F238E27FC236}">
                  <a16:creationId xmlns:a16="http://schemas.microsoft.com/office/drawing/2014/main" id="{188A44A1-90B2-4719-B50D-B1923DD2398F}"/>
                </a:ext>
              </a:extLst>
            </p:cNvPr>
            <p:cNvSpPr>
              <a:spLocks/>
            </p:cNvSpPr>
            <p:nvPr>
              <p:custDataLst>
                <p:tags r:id="rId16"/>
              </p:custDataLst>
            </p:nvPr>
          </p:nvSpPr>
          <p:spPr>
            <a:xfrm>
              <a:off x="6611209" y="22803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29</a:t>
              </a:r>
              <a:endParaRPr lang="de-DE" sz="1500" dirty="0">
                <a:solidFill>
                  <a:schemeClr val="tx1"/>
                </a:solidFill>
              </a:endParaRPr>
            </a:p>
          </p:txBody>
        </p:sp>
        <p:sp>
          <p:nvSpPr>
            <p:cNvPr id="24" name="MIO_AGENDA_ELEMENT_TITEL_4">
              <a:hlinkClick r:id="rId25" action="ppaction://hlinksldjump"/>
              <a:extLst>
                <a:ext uri="{FF2B5EF4-FFF2-40B4-BE49-F238E27FC236}">
                  <a16:creationId xmlns:a16="http://schemas.microsoft.com/office/drawing/2014/main" id="{B61CB580-DF8B-48AF-BCE7-BFEC15B6A502}"/>
                </a:ext>
              </a:extLst>
            </p:cNvPr>
            <p:cNvSpPr>
              <a:spLocks/>
            </p:cNvSpPr>
            <p:nvPr>
              <p:custDataLst>
                <p:tags r:id="rId17"/>
              </p:custDataLst>
            </p:nvPr>
          </p:nvSpPr>
          <p:spPr>
            <a:xfrm>
              <a:off x="708423" y="2790694"/>
              <a:ext cx="5902789"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29000">
                <a:lnSpc>
                  <a:spcPct val="120000"/>
                </a:lnSpc>
                <a:spcAft>
                  <a:spcPts val="525"/>
                </a:spcAft>
              </a:pPr>
              <a:r>
                <a:rPr lang="de-DE" sz="1500">
                  <a:solidFill>
                    <a:schemeClr val="tx1"/>
                  </a:solidFill>
                </a:rPr>
                <a:t>References</a:t>
              </a:r>
              <a:endParaRPr lang="de-DE" sz="1500" dirty="0">
                <a:solidFill>
                  <a:schemeClr val="tx1"/>
                </a:solidFill>
              </a:endParaRPr>
            </a:p>
          </p:txBody>
        </p:sp>
        <p:sp>
          <p:nvSpPr>
            <p:cNvPr id="25" name="MIO_AGENDA_ELEMENT_ELEMENTNUMBER_4">
              <a:hlinkClick r:id="rId25" action="ppaction://hlinksldjump"/>
              <a:extLst>
                <a:ext uri="{FF2B5EF4-FFF2-40B4-BE49-F238E27FC236}">
                  <a16:creationId xmlns:a16="http://schemas.microsoft.com/office/drawing/2014/main" id="{1E6469EE-1B98-4322-AEB5-C9BF1E8A474D}"/>
                </a:ext>
              </a:extLst>
            </p:cNvPr>
            <p:cNvSpPr>
              <a:spLocks/>
            </p:cNvSpPr>
            <p:nvPr>
              <p:custDataLst>
                <p:tags r:id="rId18"/>
              </p:custDataLst>
            </p:nvPr>
          </p:nvSpPr>
          <p:spPr>
            <a:xfrm>
              <a:off x="303607" y="2790694"/>
              <a:ext cx="30718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29000">
                <a:lnSpc>
                  <a:spcPct val="120000"/>
                </a:lnSpc>
                <a:spcAft>
                  <a:spcPts val="525"/>
                </a:spcAft>
              </a:pPr>
              <a:r>
                <a:rPr lang="de-DE" sz="1500">
                  <a:solidFill>
                    <a:schemeClr val="tx1"/>
                  </a:solidFill>
                </a:rPr>
                <a:t>4</a:t>
              </a:r>
              <a:endParaRPr lang="de-DE" sz="1500" dirty="0">
                <a:solidFill>
                  <a:schemeClr val="tx1"/>
                </a:solidFill>
              </a:endParaRPr>
            </a:p>
          </p:txBody>
        </p:sp>
        <p:sp>
          <p:nvSpPr>
            <p:cNvPr id="26" name="MIO_AGENDA_ELEMENT_PAGENUMBER_4">
              <a:hlinkClick r:id="rId25" action="ppaction://hlinksldjump"/>
              <a:extLst>
                <a:ext uri="{FF2B5EF4-FFF2-40B4-BE49-F238E27FC236}">
                  <a16:creationId xmlns:a16="http://schemas.microsoft.com/office/drawing/2014/main" id="{188A44A1-90B2-4719-B50D-B1923DD2398F}"/>
                </a:ext>
              </a:extLst>
            </p:cNvPr>
            <p:cNvSpPr>
              <a:spLocks/>
            </p:cNvSpPr>
            <p:nvPr>
              <p:custDataLst>
                <p:tags r:id="rId19"/>
              </p:custDataLst>
            </p:nvPr>
          </p:nvSpPr>
          <p:spPr>
            <a:xfrm>
              <a:off x="6611209" y="2790694"/>
              <a:ext cx="512864" cy="510300"/>
            </a:xfrm>
            <a:prstGeom prst="rect">
              <a:avLst/>
            </a:prstGeom>
            <a:noFill/>
            <a:ln w="3175">
              <a:noFill/>
            </a:ln>
          </p:spPr>
          <p:style>
            <a:lnRef idx="3">
              <a:schemeClr val="lt1"/>
            </a:lnRef>
            <a:fillRef idx="1">
              <a:schemeClr val="accent1"/>
            </a:fillRef>
            <a:effectRef idx="2">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20000"/>
                </a:lnSpc>
                <a:spcAft>
                  <a:spcPts val="525"/>
                </a:spcAft>
              </a:pPr>
              <a:r>
                <a:rPr lang="de-DE" sz="1500">
                  <a:solidFill>
                    <a:schemeClr val="tx1"/>
                  </a:solidFill>
                </a:rPr>
                <a:t>33</a:t>
              </a:r>
              <a:endParaRPr lang="de-DE" sz="1500" dirty="0">
                <a:solidFill>
                  <a:schemeClr val="tx1"/>
                </a:solidFill>
              </a:endParaRPr>
            </a:p>
          </p:txBody>
        </p:sp>
      </p:grpSp>
      <p:sp>
        <p:nvSpPr>
          <p:cNvPr id="5" name="Title 4">
            <a:extLst>
              <a:ext uri="{FF2B5EF4-FFF2-40B4-BE49-F238E27FC236}">
                <a16:creationId xmlns:a16="http://schemas.microsoft.com/office/drawing/2014/main" id="{DF59139C-523E-7153-7B45-40433BF55885}"/>
              </a:ext>
            </a:extLst>
          </p:cNvPr>
          <p:cNvSpPr>
            <a:spLocks noGrp="1"/>
          </p:cNvSpPr>
          <p:nvPr>
            <p:ph type="title"/>
            <p:custDataLst>
              <p:tags r:id="rId3"/>
            </p:custDataLst>
          </p:nvPr>
        </p:nvSpPr>
        <p:spPr/>
        <p:txBody>
          <a:bodyPr/>
          <a:lstStyle/>
          <a:p>
            <a:r>
              <a:rPr lang="en-US"/>
              <a:t>Agenda</a:t>
            </a:r>
          </a:p>
        </p:txBody>
      </p:sp>
    </p:spTree>
    <p:custDataLst>
      <p:tags r:id="rId1"/>
    </p:custDataLst>
    <p:extLst>
      <p:ext uri="{BB962C8B-B14F-4D97-AF65-F5344CB8AC3E}">
        <p14:creationId xmlns:p14="http://schemas.microsoft.com/office/powerpoint/2010/main" val="4221975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The webMethods API Gateway Staging Solution Offers Enterprise-Level, Production-Ready Management and Deployment of API Management Assets</a:t>
            </a:r>
          </a:p>
        </p:txBody>
      </p:sp>
      <p:sp>
        <p:nvSpPr>
          <p:cNvPr id="2" name="Fußzeilenplatzhalter 1">
            <a:extLst>
              <a:ext uri="{FF2B5EF4-FFF2-40B4-BE49-F238E27FC236}">
                <a16:creationId xmlns:a16="http://schemas.microsoft.com/office/drawing/2014/main" id="{5480DB41-A291-4FA3-905F-F311585DB63C}"/>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5</a:t>
            </a:fld>
            <a:endParaRPr lang="en-US" dirty="0"/>
          </a:p>
        </p:txBody>
      </p:sp>
      <p:pic>
        <p:nvPicPr>
          <p:cNvPr id="14" name="Picture 13">
            <a:extLst>
              <a:ext uri="{FF2B5EF4-FFF2-40B4-BE49-F238E27FC236}">
                <a16:creationId xmlns:a16="http://schemas.microsoft.com/office/drawing/2014/main" id="{AEF253B5-DCE5-2254-FC1F-A9C605107965}"/>
              </a:ext>
            </a:extLst>
          </p:cNvPr>
          <p:cNvPicPr>
            <a:picLocks noChangeAspect="1"/>
          </p:cNvPicPr>
          <p:nvPr/>
        </p:nvPicPr>
        <p:blipFill>
          <a:blip r:embed="rId5"/>
          <a:stretch>
            <a:fillRect/>
          </a:stretch>
        </p:blipFill>
        <p:spPr>
          <a:xfrm>
            <a:off x="607473" y="1216240"/>
            <a:ext cx="8051813" cy="3324010"/>
          </a:xfrm>
          <a:prstGeom prst="rect">
            <a:avLst/>
          </a:prstGeom>
        </p:spPr>
      </p:pic>
      <p:sp>
        <p:nvSpPr>
          <p:cNvPr id="16" name="Speech Bubble: Rectangle 15">
            <a:extLst>
              <a:ext uri="{FF2B5EF4-FFF2-40B4-BE49-F238E27FC236}">
                <a16:creationId xmlns:a16="http://schemas.microsoft.com/office/drawing/2014/main" id="{2CE354E7-4F71-DD93-6FA7-7B857DD784F6}"/>
              </a:ext>
            </a:extLst>
          </p:cNvPr>
          <p:cNvSpPr/>
          <p:nvPr/>
        </p:nvSpPr>
        <p:spPr>
          <a:xfrm>
            <a:off x="300037" y="2750777"/>
            <a:ext cx="1190625" cy="552450"/>
          </a:xfrm>
          <a:prstGeom prst="wedgeRectCallout">
            <a:avLst>
              <a:gd name="adj1" fmla="val -8833"/>
              <a:gd name="adj2" fmla="val 85776"/>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r>
              <a:rPr lang="en-US" sz="800" b="1" dirty="0">
                <a:solidFill>
                  <a:schemeClr val="bg1"/>
                </a:solidFill>
              </a:rPr>
              <a:t>All API Management assets are managed in one place</a:t>
            </a:r>
          </a:p>
        </p:txBody>
      </p:sp>
      <p:sp>
        <p:nvSpPr>
          <p:cNvPr id="17" name="Rectangle 16">
            <a:extLst>
              <a:ext uri="{FF2B5EF4-FFF2-40B4-BE49-F238E27FC236}">
                <a16:creationId xmlns:a16="http://schemas.microsoft.com/office/drawing/2014/main" id="{65BD3CF4-5ABC-32A7-8B5B-76048028D91A}"/>
              </a:ext>
            </a:extLst>
          </p:cNvPr>
          <p:cNvSpPr/>
          <p:nvPr/>
        </p:nvSpPr>
        <p:spPr>
          <a:xfrm>
            <a:off x="2176463" y="3824288"/>
            <a:ext cx="571500" cy="185737"/>
          </a:xfrm>
          <a:prstGeom prst="rect">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800" b="1" dirty="0">
                <a:solidFill>
                  <a:schemeClr val="bg1"/>
                </a:solidFill>
              </a:rPr>
              <a:t>Export</a:t>
            </a:r>
          </a:p>
        </p:txBody>
      </p:sp>
      <p:sp>
        <p:nvSpPr>
          <p:cNvPr id="18" name="Speech Bubble: Rectangle 17">
            <a:extLst>
              <a:ext uri="{FF2B5EF4-FFF2-40B4-BE49-F238E27FC236}">
                <a16:creationId xmlns:a16="http://schemas.microsoft.com/office/drawing/2014/main" id="{66BF3D1D-D374-AE76-3D14-24997ADD02A6}"/>
              </a:ext>
            </a:extLst>
          </p:cNvPr>
          <p:cNvSpPr/>
          <p:nvPr/>
        </p:nvSpPr>
        <p:spPr>
          <a:xfrm>
            <a:off x="2747963" y="2809995"/>
            <a:ext cx="1233487" cy="552450"/>
          </a:xfrm>
          <a:prstGeom prst="wedgeRectCallout">
            <a:avLst>
              <a:gd name="adj1" fmla="val -8833"/>
              <a:gd name="adj2" fmla="val 85776"/>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r>
              <a:rPr lang="en-US" sz="800" b="1" dirty="0">
                <a:solidFill>
                  <a:schemeClr val="bg1"/>
                </a:solidFill>
              </a:rPr>
              <a:t>Version control, single source of truth, branching, merging etc.</a:t>
            </a:r>
          </a:p>
        </p:txBody>
      </p:sp>
      <p:sp>
        <p:nvSpPr>
          <p:cNvPr id="19" name="Rectangle 18">
            <a:extLst>
              <a:ext uri="{FF2B5EF4-FFF2-40B4-BE49-F238E27FC236}">
                <a16:creationId xmlns:a16="http://schemas.microsoft.com/office/drawing/2014/main" id="{81067685-9F1B-B6B3-A2F1-B2ADC945B530}"/>
              </a:ext>
            </a:extLst>
          </p:cNvPr>
          <p:cNvSpPr/>
          <p:nvPr/>
        </p:nvSpPr>
        <p:spPr>
          <a:xfrm>
            <a:off x="4724401" y="3881444"/>
            <a:ext cx="571500" cy="185737"/>
          </a:xfrm>
          <a:prstGeom prst="rect">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800" b="1" dirty="0">
                <a:solidFill>
                  <a:schemeClr val="bg1"/>
                </a:solidFill>
              </a:rPr>
              <a:t>Import</a:t>
            </a:r>
          </a:p>
        </p:txBody>
      </p:sp>
      <p:sp>
        <p:nvSpPr>
          <p:cNvPr id="20" name="Speech Bubble: Rectangle 19">
            <a:extLst>
              <a:ext uri="{FF2B5EF4-FFF2-40B4-BE49-F238E27FC236}">
                <a16:creationId xmlns:a16="http://schemas.microsoft.com/office/drawing/2014/main" id="{6B98134D-BB42-4EB3-84D6-553C0FC7A249}"/>
              </a:ext>
            </a:extLst>
          </p:cNvPr>
          <p:cNvSpPr/>
          <p:nvPr/>
        </p:nvSpPr>
        <p:spPr>
          <a:xfrm>
            <a:off x="7354361" y="3378993"/>
            <a:ext cx="1233487" cy="1076326"/>
          </a:xfrm>
          <a:prstGeom prst="wedgeRectCallout">
            <a:avLst>
              <a:gd name="adj1" fmla="val -91845"/>
              <a:gd name="adj2" fmla="val -18239"/>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r>
              <a:rPr lang="en-US" sz="800" b="1" dirty="0">
                <a:solidFill>
                  <a:schemeClr val="bg1"/>
                </a:solidFill>
              </a:rPr>
              <a:t>Individual build for each deployment unit and for each target:</a:t>
            </a:r>
          </a:p>
          <a:p>
            <a:pPr marL="171450" indent="-171450">
              <a:buFont typeface="Arial" panose="020B0604020202020204" pitchFamily="34" charset="0"/>
              <a:buChar char="•"/>
            </a:pPr>
            <a:r>
              <a:rPr lang="en-US" sz="800" b="1" dirty="0">
                <a:solidFill>
                  <a:schemeClr val="bg1"/>
                </a:solidFill>
              </a:rPr>
              <a:t>Validate assets</a:t>
            </a:r>
          </a:p>
          <a:p>
            <a:pPr marL="171450" indent="-171450" algn="l">
              <a:buFont typeface="Arial" panose="020B0604020202020204" pitchFamily="34" charset="0"/>
              <a:buChar char="•"/>
            </a:pPr>
            <a:r>
              <a:rPr lang="en-US" sz="800" b="1" dirty="0">
                <a:solidFill>
                  <a:schemeClr val="bg1"/>
                </a:solidFill>
              </a:rPr>
              <a:t>Execute API tests</a:t>
            </a:r>
          </a:p>
          <a:p>
            <a:pPr marL="171450" indent="-171450" algn="l">
              <a:buFont typeface="Arial" panose="020B0604020202020204" pitchFamily="34" charset="0"/>
              <a:buChar char="•"/>
            </a:pPr>
            <a:r>
              <a:rPr lang="en-US" sz="800" b="1" dirty="0">
                <a:solidFill>
                  <a:schemeClr val="bg1"/>
                </a:solidFill>
              </a:rPr>
              <a:t>Prepare assets for target environment</a:t>
            </a:r>
          </a:p>
        </p:txBody>
      </p:sp>
      <p:sp>
        <p:nvSpPr>
          <p:cNvPr id="21" name="Textplatzhalter 11">
            <a:extLst>
              <a:ext uri="{FF2B5EF4-FFF2-40B4-BE49-F238E27FC236}">
                <a16:creationId xmlns:a16="http://schemas.microsoft.com/office/drawing/2014/main" id="{4F05F3A4-06A0-C0A5-8259-DE102EC2F30D}"/>
              </a:ext>
            </a:extLst>
          </p:cNvPr>
          <p:cNvSpPr>
            <a:spLocks noGrp="1"/>
          </p:cNvSpPr>
          <p:nvPr>
            <p:ph type="body" sz="quarter" idx="13"/>
          </p:nvPr>
        </p:nvSpPr>
        <p:spPr>
          <a:xfrm>
            <a:off x="215900" y="785760"/>
            <a:ext cx="8712000" cy="198259"/>
          </a:xfrm>
        </p:spPr>
        <p:txBody>
          <a:bodyPr/>
          <a:lstStyle/>
          <a:p>
            <a:r>
              <a:rPr lang="en-US" dirty="0"/>
              <a:t>All steps are fully automated with full auditing and roll-back capabilities</a:t>
            </a:r>
            <a:endParaRPr lang="en-DE" dirty="0"/>
          </a:p>
        </p:txBody>
      </p:sp>
      <p:sp>
        <p:nvSpPr>
          <p:cNvPr id="22" name="Rectangle 21">
            <a:extLst>
              <a:ext uri="{FF2B5EF4-FFF2-40B4-BE49-F238E27FC236}">
                <a16:creationId xmlns:a16="http://schemas.microsoft.com/office/drawing/2014/main" id="{44157273-3168-A462-FBBF-FCB4A4ADE8FB}"/>
              </a:ext>
            </a:extLst>
          </p:cNvPr>
          <p:cNvSpPr/>
          <p:nvPr/>
        </p:nvSpPr>
        <p:spPr>
          <a:xfrm>
            <a:off x="5737748" y="3040785"/>
            <a:ext cx="1023938" cy="309876"/>
          </a:xfrm>
          <a:prstGeom prst="rect">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en-US" sz="800" b="1" dirty="0">
                <a:solidFill>
                  <a:schemeClr val="bg1"/>
                </a:solidFill>
              </a:rPr>
              <a:t>Export from BUILD</a:t>
            </a:r>
            <a:br>
              <a:rPr lang="en-US" sz="800" b="1" dirty="0">
                <a:solidFill>
                  <a:schemeClr val="bg1"/>
                </a:solidFill>
              </a:rPr>
            </a:br>
            <a:r>
              <a:rPr lang="en-US" sz="800" b="1" dirty="0">
                <a:solidFill>
                  <a:schemeClr val="bg1"/>
                </a:solidFill>
              </a:rPr>
              <a:t>Import on target</a:t>
            </a:r>
          </a:p>
        </p:txBody>
      </p:sp>
      <p:sp>
        <p:nvSpPr>
          <p:cNvPr id="23" name="Rectangle 22">
            <a:extLst>
              <a:ext uri="{FF2B5EF4-FFF2-40B4-BE49-F238E27FC236}">
                <a16:creationId xmlns:a16="http://schemas.microsoft.com/office/drawing/2014/main" id="{7443E772-A262-A9B0-764D-C302DF346117}"/>
              </a:ext>
            </a:extLst>
          </p:cNvPr>
          <p:cNvSpPr/>
          <p:nvPr>
            <p:custDataLst>
              <p:tags r:id="rId1"/>
            </p:custDataLst>
          </p:nvPr>
        </p:nvSpPr>
        <p:spPr>
          <a:xfrm>
            <a:off x="1185863" y="1114425"/>
            <a:ext cx="7286625" cy="1445382"/>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
        <p:nvSpPr>
          <p:cNvPr id="24" name="Speech Bubble: Rectangle 23">
            <a:extLst>
              <a:ext uri="{FF2B5EF4-FFF2-40B4-BE49-F238E27FC236}">
                <a16:creationId xmlns:a16="http://schemas.microsoft.com/office/drawing/2014/main" id="{E5B80864-8A0B-63DD-1275-51E140F2D84B}"/>
              </a:ext>
            </a:extLst>
          </p:cNvPr>
          <p:cNvSpPr/>
          <p:nvPr>
            <p:custDataLst>
              <p:tags r:id="rId2"/>
            </p:custDataLst>
          </p:nvPr>
        </p:nvSpPr>
        <p:spPr>
          <a:xfrm>
            <a:off x="123825" y="1152530"/>
            <a:ext cx="875241" cy="842958"/>
          </a:xfrm>
          <a:prstGeom prst="wedgeRectCallout">
            <a:avLst>
              <a:gd name="adj1" fmla="val 77516"/>
              <a:gd name="adj2" fmla="val -23916"/>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r>
              <a:rPr lang="en-US" sz="800" b="1" dirty="0">
                <a:solidFill>
                  <a:schemeClr val="bg1"/>
                </a:solidFill>
              </a:rPr>
              <a:t>Deploy the right assets on the right targets in a controlled process</a:t>
            </a:r>
          </a:p>
        </p:txBody>
      </p:sp>
    </p:spTree>
    <p:extLst>
      <p:ext uri="{BB962C8B-B14F-4D97-AF65-F5344CB8AC3E}">
        <p14:creationId xmlns:p14="http://schemas.microsoft.com/office/powerpoint/2010/main" val="29217666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2" grpId="0" animBg="1"/>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All API Management Assets Are Managed in One Place</a:t>
            </a:r>
          </a:p>
        </p:txBody>
      </p:sp>
      <p:sp>
        <p:nvSpPr>
          <p:cNvPr id="2" name="Fußzeilenplatzhalter 1">
            <a:extLst>
              <a:ext uri="{FF2B5EF4-FFF2-40B4-BE49-F238E27FC236}">
                <a16:creationId xmlns:a16="http://schemas.microsoft.com/office/drawing/2014/main" id="{1192598F-891C-49EF-942D-23A8650216D3}"/>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6</a:t>
            </a:fld>
            <a:endParaRPr lang="en-US" dirty="0"/>
          </a:p>
        </p:txBody>
      </p:sp>
      <p:sp>
        <p:nvSpPr>
          <p:cNvPr id="8" name="Textplatzhalter 7">
            <a:extLst>
              <a:ext uri="{FF2B5EF4-FFF2-40B4-BE49-F238E27FC236}">
                <a16:creationId xmlns:a16="http://schemas.microsoft.com/office/drawing/2014/main" id="{C3A3BFF9-A2AF-4A01-AFEC-593C951E9D31}"/>
              </a:ext>
            </a:extLst>
          </p:cNvPr>
          <p:cNvSpPr>
            <a:spLocks noGrp="1"/>
          </p:cNvSpPr>
          <p:nvPr>
            <p:ph type="body" sz="quarter" idx="13"/>
          </p:nvPr>
        </p:nvSpPr>
        <p:spPr/>
        <p:txBody>
          <a:bodyPr/>
          <a:lstStyle/>
          <a:p>
            <a:r>
              <a:rPr lang="en-US" dirty="0"/>
              <a:t>Main features</a:t>
            </a:r>
            <a:endParaRPr lang="en-DE" dirty="0"/>
          </a:p>
        </p:txBody>
      </p:sp>
      <p:sp>
        <p:nvSpPr>
          <p:cNvPr id="13" name="Inhaltsplatzhalter 4">
            <a:extLst>
              <a:ext uri="{FF2B5EF4-FFF2-40B4-BE49-F238E27FC236}">
                <a16:creationId xmlns:a16="http://schemas.microsoft.com/office/drawing/2014/main" id="{E66C30B6-240E-4BF7-B8F6-E6D4ACCB97A0}"/>
              </a:ext>
            </a:extLst>
          </p:cNvPr>
          <p:cNvSpPr txBox="1">
            <a:spLocks/>
          </p:cNvSpPr>
          <p:nvPr>
            <p:custDataLst>
              <p:tags r:id="rId1"/>
            </p:custDataLst>
          </p:nvPr>
        </p:nvSpPr>
        <p:spPr>
          <a:xfrm>
            <a:off x="270900" y="1040851"/>
            <a:ext cx="8601075" cy="3499247"/>
          </a:xfrm>
          <a:prstGeom prst="rect">
            <a:avLst/>
          </a:prstGeom>
        </p:spPr>
        <p:txBody>
          <a:bodyPr>
            <a:normAutofit/>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dirty="0"/>
              <a:t>All assets for all stages are managed on one central API Gateway DESIGN environment</a:t>
            </a:r>
          </a:p>
          <a:p>
            <a:pPr lvl="3">
              <a:buFont typeface="Arial" panose="020B0604020202020204" pitchFamily="34" charset="0"/>
              <a:buChar char="•"/>
            </a:pPr>
            <a:r>
              <a:rPr lang="en-US" dirty="0"/>
              <a:t>Visibility of assets in the DESIGN environment can be tailored using “Teams” feature</a:t>
            </a:r>
          </a:p>
          <a:p>
            <a:pPr lvl="3">
              <a:buFont typeface="Arial" panose="020B0604020202020204" pitchFamily="34" charset="0"/>
              <a:buChar char="•"/>
            </a:pPr>
            <a:r>
              <a:rPr lang="en-US" dirty="0"/>
              <a:t>Optional: “Power users” can have their own (local) API Gateway instance for designing their API Management assets, they can use a provided CLI for importing and exporting of assets</a:t>
            </a:r>
          </a:p>
          <a:p>
            <a:pPr>
              <a:buFont typeface="Arial" panose="020B0604020202020204" pitchFamily="34" charset="0"/>
              <a:buChar char="•"/>
            </a:pPr>
            <a:r>
              <a:rPr lang="en-US" dirty="0"/>
              <a:t>Azure DevOps build pipelines for exporting API Management assets and committing them to Git</a:t>
            </a:r>
          </a:p>
          <a:p>
            <a:pPr lvl="3">
              <a:buFont typeface="Arial" panose="020B0604020202020204" pitchFamily="34" charset="0"/>
              <a:buChar char="•"/>
            </a:pPr>
            <a:r>
              <a:rPr lang="en-US" dirty="0"/>
              <a:t>APIs and corresponding assets are grouped in “API projects” as clearly defined deployment units</a:t>
            </a:r>
          </a:p>
          <a:p>
            <a:pPr lvl="3">
              <a:buFont typeface="Arial" panose="020B0604020202020204" pitchFamily="34" charset="0"/>
              <a:buChar char="•"/>
            </a:pPr>
            <a:r>
              <a:rPr lang="en-US" dirty="0"/>
              <a:t>API projects include assets for all target stages, for example applications for DEV, TEST and PROD stages</a:t>
            </a:r>
          </a:p>
          <a:p>
            <a:pPr>
              <a:buFont typeface="Arial" panose="020B0604020202020204" pitchFamily="34" charset="0"/>
              <a:buChar char="•"/>
            </a:pPr>
            <a:r>
              <a:rPr lang="en-US" dirty="0"/>
              <a:t>APIs can be marked as internal and/or external</a:t>
            </a:r>
          </a:p>
          <a:p>
            <a:pPr lvl="3">
              <a:buFont typeface="Arial" panose="020B0604020202020204" pitchFamily="34" charset="0"/>
              <a:buChar char="•"/>
            </a:pPr>
            <a:r>
              <a:rPr lang="en-US" dirty="0"/>
              <a:t>These APIs will only be deployed on internal and/or external API Gateway instances</a:t>
            </a:r>
          </a:p>
          <a:p>
            <a:pPr>
              <a:buFont typeface="Arial" panose="020B0604020202020204" pitchFamily="34" charset="0"/>
              <a:buChar char="•"/>
            </a:pPr>
            <a:r>
              <a:rPr lang="en-US" dirty="0"/>
              <a:t>All assets can include placeholders in the form #{placeholder_name}#. They will be replaced by actual values during the build process</a:t>
            </a:r>
          </a:p>
          <a:p>
            <a:pPr>
              <a:buFont typeface="Arial" panose="020B0604020202020204" pitchFamily="34" charset="0"/>
              <a:buChar char="•"/>
            </a:pPr>
            <a:r>
              <a:rPr lang="en-US" dirty="0"/>
              <a:t>Optional: API DevOps build pipelines for automatically updating API specifications</a:t>
            </a:r>
          </a:p>
          <a:p>
            <a:pPr lvl="3">
              <a:buFont typeface="Arial" panose="020B0604020202020204" pitchFamily="34" charset="0"/>
              <a:buChar char="•"/>
            </a:pPr>
            <a:r>
              <a:rPr lang="en-US" dirty="0"/>
              <a:t>This can be triggered by pipelines building the native (back-end) API</a:t>
            </a:r>
          </a:p>
        </p:txBody>
      </p:sp>
      <p:pic>
        <p:nvPicPr>
          <p:cNvPr id="10" name="Picture 9">
            <a:extLst>
              <a:ext uri="{FF2B5EF4-FFF2-40B4-BE49-F238E27FC236}">
                <a16:creationId xmlns:a16="http://schemas.microsoft.com/office/drawing/2014/main" id="{D762AF57-E121-0EAA-EE1E-8509470F59EE}"/>
              </a:ext>
            </a:extLst>
          </p:cNvPr>
          <p:cNvPicPr>
            <a:picLocks noChangeAspect="1"/>
          </p:cNvPicPr>
          <p:nvPr/>
        </p:nvPicPr>
        <p:blipFill>
          <a:blip r:embed="rId5"/>
          <a:stretch>
            <a:fillRect/>
          </a:stretch>
        </p:blipFill>
        <p:spPr>
          <a:xfrm>
            <a:off x="7545914" y="195263"/>
            <a:ext cx="1382186" cy="570604"/>
          </a:xfrm>
          <a:prstGeom prst="rect">
            <a:avLst/>
          </a:prstGeom>
        </p:spPr>
      </p:pic>
      <p:sp>
        <p:nvSpPr>
          <p:cNvPr id="11" name="Rectangle 10">
            <a:extLst>
              <a:ext uri="{FF2B5EF4-FFF2-40B4-BE49-F238E27FC236}">
                <a16:creationId xmlns:a16="http://schemas.microsoft.com/office/drawing/2014/main" id="{EEBD3727-C1ED-4275-4B7A-7955E7114A05}"/>
              </a:ext>
            </a:extLst>
          </p:cNvPr>
          <p:cNvSpPr/>
          <p:nvPr>
            <p:custDataLst>
              <p:tags r:id="rId2"/>
            </p:custDataLst>
          </p:nvPr>
        </p:nvSpPr>
        <p:spPr>
          <a:xfrm flipV="1">
            <a:off x="7545914" y="585784"/>
            <a:ext cx="226486" cy="15240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2130145112"/>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Version Control, Single Source of Truth, Branching, Merging etc.</a:t>
            </a:r>
          </a:p>
        </p:txBody>
      </p:sp>
      <p:sp>
        <p:nvSpPr>
          <p:cNvPr id="2" name="Fußzeilenplatzhalter 1">
            <a:extLst>
              <a:ext uri="{FF2B5EF4-FFF2-40B4-BE49-F238E27FC236}">
                <a16:creationId xmlns:a16="http://schemas.microsoft.com/office/drawing/2014/main" id="{1192598F-891C-49EF-942D-23A8650216D3}"/>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7</a:t>
            </a:fld>
            <a:endParaRPr lang="en-US" dirty="0"/>
          </a:p>
        </p:txBody>
      </p:sp>
      <p:sp>
        <p:nvSpPr>
          <p:cNvPr id="8" name="Textplatzhalter 7">
            <a:extLst>
              <a:ext uri="{FF2B5EF4-FFF2-40B4-BE49-F238E27FC236}">
                <a16:creationId xmlns:a16="http://schemas.microsoft.com/office/drawing/2014/main" id="{C3A3BFF9-A2AF-4A01-AFEC-593C951E9D31}"/>
              </a:ext>
            </a:extLst>
          </p:cNvPr>
          <p:cNvSpPr>
            <a:spLocks noGrp="1"/>
          </p:cNvSpPr>
          <p:nvPr>
            <p:ph type="body" sz="quarter" idx="13"/>
          </p:nvPr>
        </p:nvSpPr>
        <p:spPr/>
        <p:txBody>
          <a:bodyPr/>
          <a:lstStyle/>
          <a:p>
            <a:r>
              <a:rPr lang="en-US" dirty="0"/>
              <a:t>Main features</a:t>
            </a:r>
            <a:endParaRPr lang="en-DE" dirty="0"/>
          </a:p>
        </p:txBody>
      </p:sp>
      <p:sp>
        <p:nvSpPr>
          <p:cNvPr id="13" name="Inhaltsplatzhalter 4">
            <a:extLst>
              <a:ext uri="{FF2B5EF4-FFF2-40B4-BE49-F238E27FC236}">
                <a16:creationId xmlns:a16="http://schemas.microsoft.com/office/drawing/2014/main" id="{E66C30B6-240E-4BF7-B8F6-E6D4ACCB97A0}"/>
              </a:ext>
            </a:extLst>
          </p:cNvPr>
          <p:cNvSpPr txBox="1">
            <a:spLocks/>
          </p:cNvSpPr>
          <p:nvPr>
            <p:custDataLst>
              <p:tags r:id="rId1"/>
            </p:custDataLst>
          </p:nvPr>
        </p:nvSpPr>
        <p:spPr>
          <a:xfrm>
            <a:off x="270900" y="1040851"/>
            <a:ext cx="8601075" cy="3499247"/>
          </a:xfrm>
          <a:prstGeom prst="rect">
            <a:avLst/>
          </a:prstGeom>
        </p:spPr>
        <p:txBody>
          <a:bodyPr>
            <a:normAutofit/>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dirty="0"/>
              <a:t>All assets of an API project (for all target stages) are managed in one folder in Git</a:t>
            </a:r>
          </a:p>
          <a:p>
            <a:pPr>
              <a:buFont typeface="Arial" panose="020B0604020202020204" pitchFamily="34" charset="0"/>
              <a:buChar char="•"/>
            </a:pPr>
            <a:r>
              <a:rPr lang="en-US" dirty="0"/>
              <a:t>All Git/GitHub features like branching, tagging, comparing, merging, pull requests etc. can be used for establishing a professional software development life cycle for API Management assets</a:t>
            </a:r>
          </a:p>
          <a:p>
            <a:pPr>
              <a:buFont typeface="Arial" panose="020B0604020202020204" pitchFamily="34" charset="0"/>
              <a:buChar char="•"/>
            </a:pPr>
            <a:r>
              <a:rPr lang="en-US" dirty="0"/>
              <a:t>In addition to the API Management assets, every API project includes a Postman collection of test requests that are executed automatically during the build process</a:t>
            </a:r>
          </a:p>
          <a:p>
            <a:pPr>
              <a:buFont typeface="Arial" panose="020B0604020202020204" pitchFamily="34" charset="0"/>
              <a:buChar char="•"/>
            </a:pPr>
            <a:r>
              <a:rPr lang="en-US" dirty="0"/>
              <a:t>Optional: Every API project can include an aliases.json file in the repository specifying alias values for each alias and for each target environment (all alias types supported)</a:t>
            </a:r>
          </a:p>
          <a:p>
            <a:pPr>
              <a:buFont typeface="Arial" panose="020B0604020202020204" pitchFamily="34" charset="0"/>
              <a:buChar char="•"/>
            </a:pPr>
            <a:r>
              <a:rPr lang="en-US" dirty="0"/>
              <a:t>Optional: Every API project can include a scopes.json file with OAuth2 scopes (names and descriptions) for the local OAuth2 Authorization Server in API Gateway</a:t>
            </a:r>
          </a:p>
          <a:p>
            <a:pPr>
              <a:buFont typeface="Arial" panose="020B0604020202020204" pitchFamily="34" charset="0"/>
              <a:buChar char="•"/>
            </a:pPr>
            <a:r>
              <a:rPr lang="en-US" dirty="0"/>
              <a:t>Optional: API projects can be maintained in separate Git repositories for separate teams</a:t>
            </a:r>
          </a:p>
        </p:txBody>
      </p:sp>
      <p:pic>
        <p:nvPicPr>
          <p:cNvPr id="3" name="Picture 2">
            <a:extLst>
              <a:ext uri="{FF2B5EF4-FFF2-40B4-BE49-F238E27FC236}">
                <a16:creationId xmlns:a16="http://schemas.microsoft.com/office/drawing/2014/main" id="{E921FDA9-C450-718A-A628-535A9355B606}"/>
              </a:ext>
            </a:extLst>
          </p:cNvPr>
          <p:cNvPicPr>
            <a:picLocks noChangeAspect="1"/>
          </p:cNvPicPr>
          <p:nvPr/>
        </p:nvPicPr>
        <p:blipFill>
          <a:blip r:embed="rId5"/>
          <a:stretch>
            <a:fillRect/>
          </a:stretch>
        </p:blipFill>
        <p:spPr>
          <a:xfrm>
            <a:off x="7545914" y="195263"/>
            <a:ext cx="1382186" cy="570604"/>
          </a:xfrm>
          <a:prstGeom prst="rect">
            <a:avLst/>
          </a:prstGeom>
        </p:spPr>
      </p:pic>
      <p:sp>
        <p:nvSpPr>
          <p:cNvPr id="5" name="Rectangle 4">
            <a:extLst>
              <a:ext uri="{FF2B5EF4-FFF2-40B4-BE49-F238E27FC236}">
                <a16:creationId xmlns:a16="http://schemas.microsoft.com/office/drawing/2014/main" id="{6F3B6BA1-9211-23EE-B271-C09D3957FD3B}"/>
              </a:ext>
            </a:extLst>
          </p:cNvPr>
          <p:cNvSpPr/>
          <p:nvPr>
            <p:custDataLst>
              <p:tags r:id="rId2"/>
            </p:custDataLst>
          </p:nvPr>
        </p:nvSpPr>
        <p:spPr>
          <a:xfrm flipV="1">
            <a:off x="7922151" y="559593"/>
            <a:ext cx="312211" cy="208654"/>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1389552595"/>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Individual Build for Each Deployment Unit and for Each Target</a:t>
            </a:r>
          </a:p>
        </p:txBody>
      </p:sp>
      <p:sp>
        <p:nvSpPr>
          <p:cNvPr id="2" name="Fußzeilenplatzhalter 1">
            <a:extLst>
              <a:ext uri="{FF2B5EF4-FFF2-40B4-BE49-F238E27FC236}">
                <a16:creationId xmlns:a16="http://schemas.microsoft.com/office/drawing/2014/main" id="{1192598F-891C-49EF-942D-23A8650216D3}"/>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8</a:t>
            </a:fld>
            <a:endParaRPr lang="en-US" dirty="0"/>
          </a:p>
        </p:txBody>
      </p:sp>
      <p:sp>
        <p:nvSpPr>
          <p:cNvPr id="8" name="Textplatzhalter 7">
            <a:extLst>
              <a:ext uri="{FF2B5EF4-FFF2-40B4-BE49-F238E27FC236}">
                <a16:creationId xmlns:a16="http://schemas.microsoft.com/office/drawing/2014/main" id="{C3A3BFF9-A2AF-4A01-AFEC-593C951E9D31}"/>
              </a:ext>
            </a:extLst>
          </p:cNvPr>
          <p:cNvSpPr>
            <a:spLocks noGrp="1"/>
          </p:cNvSpPr>
          <p:nvPr>
            <p:ph type="body" sz="quarter" idx="13"/>
          </p:nvPr>
        </p:nvSpPr>
        <p:spPr/>
        <p:txBody>
          <a:bodyPr/>
          <a:lstStyle/>
          <a:p>
            <a:r>
              <a:rPr lang="en-US" dirty="0"/>
              <a:t>Main features</a:t>
            </a:r>
            <a:endParaRPr lang="en-DE" dirty="0"/>
          </a:p>
        </p:txBody>
      </p:sp>
      <p:sp>
        <p:nvSpPr>
          <p:cNvPr id="13" name="Inhaltsplatzhalter 4">
            <a:extLst>
              <a:ext uri="{FF2B5EF4-FFF2-40B4-BE49-F238E27FC236}">
                <a16:creationId xmlns:a16="http://schemas.microsoft.com/office/drawing/2014/main" id="{E66C30B6-240E-4BF7-B8F6-E6D4ACCB97A0}"/>
              </a:ext>
            </a:extLst>
          </p:cNvPr>
          <p:cNvSpPr txBox="1">
            <a:spLocks/>
          </p:cNvSpPr>
          <p:nvPr>
            <p:custDataLst>
              <p:tags r:id="rId1"/>
            </p:custDataLst>
          </p:nvPr>
        </p:nvSpPr>
        <p:spPr>
          <a:xfrm>
            <a:off x="270900" y="1040851"/>
            <a:ext cx="8601075" cy="3499247"/>
          </a:xfrm>
          <a:prstGeom prst="rect">
            <a:avLst/>
          </a:prstGeom>
        </p:spPr>
        <p:txBody>
          <a:bodyPr>
            <a:normAutofit/>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dirty="0"/>
              <a:t>Azure DevOps build pipelines for importing an API project on BUILD, executing validations and API tests, preparing the assets for the target environment, exporting them again from BUILD and importing them on the target environment</a:t>
            </a:r>
          </a:p>
          <a:p>
            <a:pPr lvl="3">
              <a:buFont typeface="Arial" panose="020B0604020202020204" pitchFamily="34" charset="0"/>
              <a:buChar char="•"/>
            </a:pPr>
            <a:r>
              <a:rPr lang="en-US" dirty="0"/>
              <a:t>Optional: All APIs in the API project can automatically be republished to Developer Portal after deployment</a:t>
            </a:r>
          </a:p>
          <a:p>
            <a:pPr>
              <a:buFont typeface="Arial" panose="020B0604020202020204" pitchFamily="34" charset="0"/>
              <a:buChar char="•"/>
            </a:pPr>
            <a:r>
              <a:rPr lang="en-US" dirty="0"/>
              <a:t>Deployment will be aborted if any asset validation or API test fails</a:t>
            </a:r>
          </a:p>
          <a:p>
            <a:pPr>
              <a:buFont typeface="Arial" panose="020B0604020202020204" pitchFamily="34" charset="0"/>
              <a:buChar char="•"/>
            </a:pPr>
            <a:r>
              <a:rPr lang="en-US" dirty="0"/>
              <a:t>Placeholders will be replaced by target-specific values</a:t>
            </a:r>
          </a:p>
          <a:p>
            <a:pPr lvl="3">
              <a:buFont typeface="Arial" panose="020B0604020202020204" pitchFamily="34" charset="0"/>
              <a:buChar char="•"/>
            </a:pPr>
            <a:r>
              <a:rPr lang="en-US" dirty="0"/>
              <a:t>Values can be managed in Azure DevOps variable groups</a:t>
            </a:r>
          </a:p>
          <a:p>
            <a:pPr lvl="3">
              <a:buFont typeface="Arial" panose="020B0604020202020204" pitchFamily="34" charset="0"/>
              <a:buChar char="•"/>
            </a:pPr>
            <a:r>
              <a:rPr lang="en-US" dirty="0"/>
              <a:t>Confidential values can be managed as secret variables</a:t>
            </a:r>
          </a:p>
          <a:p>
            <a:pPr>
              <a:buFont typeface="Arial" panose="020B0604020202020204" pitchFamily="34" charset="0"/>
              <a:buChar char="•"/>
            </a:pPr>
            <a:r>
              <a:rPr lang="en-US" dirty="0"/>
              <a:t>Alias values will be replaced as per aliases.json file</a:t>
            </a:r>
          </a:p>
          <a:p>
            <a:pPr>
              <a:buFont typeface="Arial" panose="020B0604020202020204" pitchFamily="34" charset="0"/>
              <a:buChar char="•"/>
            </a:pPr>
            <a:r>
              <a:rPr lang="en-US" dirty="0"/>
              <a:t>OAuth2 scopes will be created as per scopes.json file</a:t>
            </a:r>
          </a:p>
          <a:p>
            <a:pPr>
              <a:buFont typeface="Arial" panose="020B0604020202020204" pitchFamily="34" charset="0"/>
              <a:buChar char="•"/>
            </a:pPr>
            <a:r>
              <a:rPr lang="en-US" dirty="0"/>
              <a:t>Optional: Build results can be stored in an artifact repository like JFrog Artifactory</a:t>
            </a:r>
          </a:p>
        </p:txBody>
      </p:sp>
      <p:pic>
        <p:nvPicPr>
          <p:cNvPr id="3" name="Picture 2">
            <a:extLst>
              <a:ext uri="{FF2B5EF4-FFF2-40B4-BE49-F238E27FC236}">
                <a16:creationId xmlns:a16="http://schemas.microsoft.com/office/drawing/2014/main" id="{73256B6A-12EA-3AA7-981B-E54EDED6499A}"/>
              </a:ext>
            </a:extLst>
          </p:cNvPr>
          <p:cNvPicPr>
            <a:picLocks noChangeAspect="1"/>
          </p:cNvPicPr>
          <p:nvPr/>
        </p:nvPicPr>
        <p:blipFill>
          <a:blip r:embed="rId5"/>
          <a:stretch>
            <a:fillRect/>
          </a:stretch>
        </p:blipFill>
        <p:spPr>
          <a:xfrm>
            <a:off x="7545914" y="195263"/>
            <a:ext cx="1382186" cy="570604"/>
          </a:xfrm>
          <a:prstGeom prst="rect">
            <a:avLst/>
          </a:prstGeom>
        </p:spPr>
      </p:pic>
      <p:sp>
        <p:nvSpPr>
          <p:cNvPr id="5" name="Rectangle 4">
            <a:extLst>
              <a:ext uri="{FF2B5EF4-FFF2-40B4-BE49-F238E27FC236}">
                <a16:creationId xmlns:a16="http://schemas.microsoft.com/office/drawing/2014/main" id="{A720C76D-B60D-E12C-5789-EBC0BA0845B2}"/>
              </a:ext>
            </a:extLst>
          </p:cNvPr>
          <p:cNvSpPr/>
          <p:nvPr>
            <p:custDataLst>
              <p:tags r:id="rId2"/>
            </p:custDataLst>
          </p:nvPr>
        </p:nvSpPr>
        <p:spPr>
          <a:xfrm flipV="1">
            <a:off x="8396020" y="585784"/>
            <a:ext cx="226486" cy="15240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106797378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F653FB-3CD7-42B7-B8D0-DC30DD14EE37}"/>
              </a:ext>
            </a:extLst>
          </p:cNvPr>
          <p:cNvSpPr>
            <a:spLocks noGrp="1"/>
          </p:cNvSpPr>
          <p:nvPr>
            <p:ph type="title"/>
          </p:nvPr>
        </p:nvSpPr>
        <p:spPr/>
        <p:txBody>
          <a:bodyPr/>
          <a:lstStyle/>
          <a:p>
            <a:r>
              <a:rPr lang="en-US" dirty="0"/>
              <a:t>Deploy the Right Assets on the Right Targets</a:t>
            </a:r>
          </a:p>
        </p:txBody>
      </p:sp>
      <p:sp>
        <p:nvSpPr>
          <p:cNvPr id="2" name="Fußzeilenplatzhalter 1">
            <a:extLst>
              <a:ext uri="{FF2B5EF4-FFF2-40B4-BE49-F238E27FC236}">
                <a16:creationId xmlns:a16="http://schemas.microsoft.com/office/drawing/2014/main" id="{1192598F-891C-49EF-942D-23A8650216D3}"/>
              </a:ext>
            </a:extLst>
          </p:cNvPr>
          <p:cNvSpPr>
            <a:spLocks noGrp="1"/>
          </p:cNvSpPr>
          <p:nvPr>
            <p:ph type="ftr" sz="quarter" idx="11"/>
          </p:nvPr>
        </p:nvSpPr>
        <p:spPr/>
        <p:txBody>
          <a:bodyPr/>
          <a:lstStyle/>
          <a:p>
            <a:r>
              <a:rPr lang="en-US" dirty="0"/>
              <a:t>© 2024 Software AG. All rights reserved. For internal use only and for Software AG Partners.</a:t>
            </a:r>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12"/>
          </p:nvPr>
        </p:nvSpPr>
        <p:spPr/>
        <p:txBody>
          <a:bodyPr/>
          <a:lstStyle/>
          <a:p>
            <a:fld id="{22FF84AA-2C76-4AF1-8502-73D25D47F37C}" type="slidenum">
              <a:rPr lang="en-US"/>
              <a:pPr/>
              <a:t>9</a:t>
            </a:fld>
            <a:endParaRPr lang="en-US" dirty="0"/>
          </a:p>
        </p:txBody>
      </p:sp>
      <p:sp>
        <p:nvSpPr>
          <p:cNvPr id="8" name="Textplatzhalter 7">
            <a:extLst>
              <a:ext uri="{FF2B5EF4-FFF2-40B4-BE49-F238E27FC236}">
                <a16:creationId xmlns:a16="http://schemas.microsoft.com/office/drawing/2014/main" id="{C3A3BFF9-A2AF-4A01-AFEC-593C951E9D31}"/>
              </a:ext>
            </a:extLst>
          </p:cNvPr>
          <p:cNvSpPr>
            <a:spLocks noGrp="1"/>
          </p:cNvSpPr>
          <p:nvPr>
            <p:ph type="body" sz="quarter" idx="13"/>
          </p:nvPr>
        </p:nvSpPr>
        <p:spPr/>
        <p:txBody>
          <a:bodyPr/>
          <a:lstStyle/>
          <a:p>
            <a:r>
              <a:rPr lang="en-US" dirty="0"/>
              <a:t>Main features</a:t>
            </a:r>
            <a:endParaRPr lang="en-DE" dirty="0"/>
          </a:p>
        </p:txBody>
      </p:sp>
      <p:sp>
        <p:nvSpPr>
          <p:cNvPr id="13" name="Inhaltsplatzhalter 4">
            <a:extLst>
              <a:ext uri="{FF2B5EF4-FFF2-40B4-BE49-F238E27FC236}">
                <a16:creationId xmlns:a16="http://schemas.microsoft.com/office/drawing/2014/main" id="{E66C30B6-240E-4BF7-B8F6-E6D4ACCB97A0}"/>
              </a:ext>
            </a:extLst>
          </p:cNvPr>
          <p:cNvSpPr txBox="1">
            <a:spLocks/>
          </p:cNvSpPr>
          <p:nvPr>
            <p:custDataLst>
              <p:tags r:id="rId1"/>
            </p:custDataLst>
          </p:nvPr>
        </p:nvSpPr>
        <p:spPr>
          <a:xfrm>
            <a:off x="270900" y="1040851"/>
            <a:ext cx="8601075" cy="3499247"/>
          </a:xfrm>
          <a:prstGeom prst="rect">
            <a:avLst/>
          </a:prstGeom>
        </p:spPr>
        <p:txBody>
          <a:bodyPr>
            <a:normAutofit/>
          </a:bodyPr>
          <a:lstStyle>
            <a:lvl1pPr marL="291600" indent="-291600" algn="l" defTabSz="972000" rtl="0" eaLnBrk="1" latinLnBrk="0" hangingPunct="1">
              <a:lnSpc>
                <a:spcPct val="100000"/>
              </a:lnSpc>
              <a:spcBef>
                <a:spcPts val="300"/>
              </a:spcBef>
              <a:buClr>
                <a:schemeClr val="tx1"/>
              </a:buClr>
              <a:buFont typeface="Wingdings" panose="05000000000000000000" pitchFamily="2" charset="2"/>
              <a:buChar char="§"/>
              <a:defRPr sz="1400" kern="1200">
                <a:solidFill>
                  <a:schemeClr val="tx2"/>
                </a:solidFill>
                <a:latin typeface="+mn-lt"/>
                <a:ea typeface="+mn-ea"/>
                <a:cs typeface="+mn-cs"/>
              </a:defRPr>
            </a:lvl1pPr>
            <a:lvl2pPr marL="291600" indent="-291600" algn="l" defTabSz="972000" rtl="0" eaLnBrk="1" latinLnBrk="0" hangingPunct="1">
              <a:lnSpc>
                <a:spcPct val="100000"/>
              </a:lnSpc>
              <a:spcBef>
                <a:spcPts val="432"/>
              </a:spcBef>
              <a:buClr>
                <a:schemeClr val="tx1"/>
              </a:buClr>
              <a:buFont typeface="Wingdings" panose="05000000000000000000" pitchFamily="2" charset="2"/>
              <a:buChar char="§"/>
              <a:defRPr sz="1400" kern="1200">
                <a:solidFill>
                  <a:schemeClr val="tx2"/>
                </a:solidFill>
                <a:latin typeface="+mn-lt"/>
                <a:ea typeface="+mn-ea"/>
                <a:cs typeface="+mn-cs"/>
              </a:defRPr>
            </a:lvl2pPr>
            <a:lvl3pPr marL="291600" indent="-291600" algn="l" defTabSz="972000" rtl="0" eaLnBrk="1" latinLnBrk="0" hangingPunct="1">
              <a:lnSpc>
                <a:spcPct val="100000"/>
              </a:lnSpc>
              <a:spcBef>
                <a:spcPts val="400"/>
              </a:spcBef>
              <a:buClr>
                <a:schemeClr val="tx1"/>
              </a:buClr>
              <a:buFont typeface="Wingdings" panose="05000000000000000000" pitchFamily="2" charset="2"/>
              <a:buChar char="§"/>
              <a:defRPr sz="1200" kern="1200">
                <a:solidFill>
                  <a:schemeClr val="tx2"/>
                </a:solidFill>
                <a:latin typeface="+mn-lt"/>
                <a:ea typeface="+mn-ea"/>
                <a:cs typeface="+mn-cs"/>
              </a:defRPr>
            </a:lvl3pPr>
            <a:lvl4pPr marL="583200" indent="-291600" algn="l" defTabSz="972000" rtl="0" eaLnBrk="1" latinLnBrk="0" hangingPunct="1">
              <a:lnSpc>
                <a:spcPct val="100000"/>
              </a:lnSpc>
              <a:spcBef>
                <a:spcPts val="400"/>
              </a:spcBef>
              <a:buClr>
                <a:schemeClr val="tx1"/>
              </a:buClr>
              <a:buFont typeface="Symbol" panose="05050102010706020507" pitchFamily="18" charset="2"/>
              <a:buChar char="-"/>
              <a:defRPr sz="1200" kern="1200">
                <a:solidFill>
                  <a:schemeClr val="tx2"/>
                </a:solidFill>
                <a:latin typeface="+mn-lt"/>
                <a:ea typeface="+mn-ea"/>
                <a:cs typeface="+mn-cs"/>
              </a:defRPr>
            </a:lvl4pPr>
            <a:lvl5pPr marL="874800" indent="-291600" algn="l" defTabSz="972000" rtl="0" eaLnBrk="1" latinLnBrk="0" hangingPunct="1">
              <a:lnSpc>
                <a:spcPct val="100000"/>
              </a:lnSpc>
              <a:spcBef>
                <a:spcPts val="300"/>
              </a:spcBef>
              <a:buClr>
                <a:schemeClr val="tx2"/>
              </a:buClr>
              <a:buSzPct val="125000"/>
              <a:buFont typeface="Rubik" panose="00000500000000000000" pitchFamily="50" charset="-79"/>
              <a:buChar char="•"/>
              <a:defRPr sz="1000" kern="1200">
                <a:solidFill>
                  <a:schemeClr val="tx2"/>
                </a:solidFill>
                <a:latin typeface="+mn-lt"/>
                <a:ea typeface="+mn-ea"/>
                <a:cs typeface="+mn-cs"/>
              </a:defRPr>
            </a:lvl5pPr>
            <a:lvl6pPr marL="291600" indent="-291600" algn="l" defTabSz="972000" rtl="0" eaLnBrk="1" latinLnBrk="0" hangingPunct="1">
              <a:lnSpc>
                <a:spcPct val="90000"/>
              </a:lnSpc>
              <a:spcBef>
                <a:spcPts val="375"/>
              </a:spcBef>
              <a:buFont typeface="+mj-lt"/>
              <a:buAutoNum type="arabicPeriod"/>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US" dirty="0"/>
              <a:t>Deployment unit will only include APIs marked as internal/external for deployment on internal/external API Gateway environments</a:t>
            </a:r>
          </a:p>
          <a:p>
            <a:pPr>
              <a:buFont typeface="Arial" panose="020B0604020202020204" pitchFamily="34" charset="0"/>
              <a:buChar char="•"/>
            </a:pPr>
            <a:r>
              <a:rPr lang="en-US" dirty="0"/>
              <a:t>Deployment unit will only include applications intended for the target stage</a:t>
            </a:r>
          </a:p>
          <a:p>
            <a:pPr>
              <a:buFont typeface="Arial" panose="020B0604020202020204" pitchFamily="34" charset="0"/>
              <a:buChar char="•"/>
            </a:pPr>
            <a:r>
              <a:rPr lang="en-US" dirty="0"/>
              <a:t>Deployment unit will not include any API with unwanted policies (e.g., local transaction logging)</a:t>
            </a:r>
          </a:p>
          <a:p>
            <a:pPr>
              <a:buFont typeface="Arial" panose="020B0604020202020204" pitchFamily="34" charset="0"/>
              <a:buChar char="•"/>
            </a:pPr>
            <a:r>
              <a:rPr lang="en-US" dirty="0"/>
              <a:t>API mocking is turned off for deployment on TEST and PROD target environments</a:t>
            </a:r>
          </a:p>
        </p:txBody>
      </p:sp>
      <p:pic>
        <p:nvPicPr>
          <p:cNvPr id="3" name="Picture 2">
            <a:extLst>
              <a:ext uri="{FF2B5EF4-FFF2-40B4-BE49-F238E27FC236}">
                <a16:creationId xmlns:a16="http://schemas.microsoft.com/office/drawing/2014/main" id="{49FBAD91-6C57-375A-E6A5-0B55FFC06F41}"/>
              </a:ext>
            </a:extLst>
          </p:cNvPr>
          <p:cNvPicPr>
            <a:picLocks noChangeAspect="1"/>
          </p:cNvPicPr>
          <p:nvPr/>
        </p:nvPicPr>
        <p:blipFill>
          <a:blip r:embed="rId5"/>
          <a:stretch>
            <a:fillRect/>
          </a:stretch>
        </p:blipFill>
        <p:spPr>
          <a:xfrm>
            <a:off x="7545914" y="195263"/>
            <a:ext cx="1382186" cy="570604"/>
          </a:xfrm>
          <a:prstGeom prst="rect">
            <a:avLst/>
          </a:prstGeom>
        </p:spPr>
      </p:pic>
      <p:sp>
        <p:nvSpPr>
          <p:cNvPr id="5" name="Rectangle 4">
            <a:extLst>
              <a:ext uri="{FF2B5EF4-FFF2-40B4-BE49-F238E27FC236}">
                <a16:creationId xmlns:a16="http://schemas.microsoft.com/office/drawing/2014/main" id="{4C4C3906-D22A-4493-2370-BC5157F9CF1D}"/>
              </a:ext>
            </a:extLst>
          </p:cNvPr>
          <p:cNvSpPr/>
          <p:nvPr>
            <p:custDataLst>
              <p:tags r:id="rId2"/>
            </p:custDataLst>
          </p:nvPr>
        </p:nvSpPr>
        <p:spPr>
          <a:xfrm flipV="1">
            <a:off x="7636669" y="167578"/>
            <a:ext cx="1262061" cy="270571"/>
          </a:xfrm>
          <a:prstGeom prst="rect">
            <a:avLst/>
          </a:prstGeom>
          <a:solidFill>
            <a:srgbClr val="EBDCFE">
              <a:alpha val="40000"/>
            </a:srgbClr>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b="1" dirty="0" err="1">
              <a:solidFill>
                <a:schemeClr val="bg1"/>
              </a:solidFill>
            </a:endParaRPr>
          </a:p>
        </p:txBody>
      </p:sp>
    </p:spTree>
    <p:extLst>
      <p:ext uri="{BB962C8B-B14F-4D97-AF65-F5344CB8AC3E}">
        <p14:creationId xmlns:p14="http://schemas.microsoft.com/office/powerpoint/2010/main" val="405928611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3"/>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0JGkSsf445FoC0jgqdvQloEAAAAAAADAAAAAAADAAAAAwADAAAAAAADAAAAAwADAAIA////////BQAAAAMAEAALDukenBzFgUKN+WsXkct7PwQAAAABAAMAAAACAAMAAAAEAAMAAAACAP///////wQAAQD///////8FAAAABAAQAAtJq3i9+junSZjJ436zlto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QkaRKx/jjkWgLSOCp29CWgNEYXRhABsAAAAETGlua2VkU2hhcGVEYXRhAAUAAAAAAAJOYW1lABkAAABMaW5rZWRTaGFwZXNEYXRhUHJvcGVydHkAEFZlcnNpb24AAAAAAAlMYXN0V3JpdGUAO1i8Rn0BAAAAAQD/////nQCdAAAABV9pZAAQAAAABA7pHpwcxYFCjflrF5HLez8DRGF0YQAqAAAACFByZXNlbnRhdGlvblNjYW5uZWRGb3JMaW5rZWRTaGFwZXMAAQACTmFtZQAkAAAATGlua2VkU2hhcGVQcmVzZW50YXRpb25TZXR0aW5nc0RhdGEAEFZlcnNpb24AAAAAAAlMYXN0V3JpdGUAYVi8Rn0BAAAAAgD/////gwCDAAAABV9pZAAQAAAABEmreL36O6dJmMnjfrOW2gsDRGF0YQAbAAAABExpbmtlZFNoYXBlRGF0YQAFAAAAAAACTmFtZQAZAAAATGlua2VkU2hhcGVzRGF0YVByb3BlcnR5ABBWZXJzaW9uAAEAAAAJTGFzdFdyaXRlAJ51CueP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EAP///////wUAAAAEAP///////////////////////////////////////////////////////////////////////////////////////////////////////////////////////////////////////////////////////////////////////////////////////////////////////////////////////////////////////////////////////////////////////////////////////////////////////////////////////////////////////////////////////////////////////////////////////////////////////////////////////////////////////////////////////////////////////////////wEAIAH///////////////8AAA7///////8FAAAABAD///////////////////////////////////////////////////////////////////////////////////////////////////////////////////////////////////////////////////////////////////////////////////////////////////////////////////////////////////////////////////////////////////////////////////////////////////////////////////////////////////////////////////////////////////////////////////////////////////////////////////////////////////////////////////////////////////////////////////////////////////////////////////////8CAAEBAwAAAAIA////////GgAGTGlua2VkU2hhcGVzRGF0YVByb3BlcnR5XzAEAAAAAAAFAAAAAwAFAAAABAADAAEBAwAAAAMA////////JQAGTGlua2VkU2hhcGVQcmVzZW50YXRpb25TZXR0aW5nc0RhdGFfMAQAAAABAAUAAAAAAAUAAAACAAQAAwEDAAAABAD///////8aAAZMaW5rZWRTaGFwZXNEYXRhUHJvcGVydHlfMQQAAAACAAUAAAACAAUAAAABAA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531649735819581"/>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d0b25dc0-79eb-40f6-b660-374e01f1db96"/>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c8e724ca-290b-454d-b377-1040271d856d"/>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0eYbML8A6hFsiqsved5LIIEAAAAAAADAAAABAADAAAAAwADAAAABAD///////8DAAAAAAD///////8DAAEA////////BQAAAAMAEAALpuCC00hZM0Kx1qXA6lQm1QQAAAABAAMAAAACAAMAAAABAAQAAgD///////8FAAAABAAQAAugkJyrPksKQqcXmp1WsoUu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5hswvwDqEWyKqy953ksggREYXRhAAUAAAAAAk5hbWUADQAAAExpbmtEYXRhTGlzdAAQVmVyc2lvbgABAAAACUxhc3RXcml0ZQDpMzzsjwEAAAABAP////9hAGEAAAAFX2lkABAAAAAEpuCC00hZM0Kx1qXA6lQm1QREYXRhAAUAAAAAAk5hbWUADQAAAExpbmtEYXRhTGlzdAAQVmVyc2lvbgAAAAAACUxhc3RXcml0ZQDXMzzsjwEAAAACAP////9wAHAAAAAFX2lkABAAAAAEoJCcqz5LCkKnF5qdVrKFLgNEYXRhABYAAAACUGVyc29uYWxJZAABAAAAAAACTmFtZQALAAAAUGVyc29uYWxJZAAQVmVyc2lvbgAAAAAACUxhc3RXcml0ZQAt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6194484"/>
  <p:tag name="EMPOWERCHARTSPROPERTIES_B_LENGTH" val="24576"/>
  <p:tag name="DOWN_MIGRATION_INITIAL_LAYOUT_REQUIRED" val="9.2.99"/>
  <p:tag name="RUNTIME_ID" val="8f551656-a7e0-4595-85fb-15bc30dcf8bb"/>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1iRqyJvEUBJlExqA6kJhV8EAAAAAAADAAAAAAADAAAAAwADAAIA////////BQAAAAMAEAALzfSr0ivflEOycQlKAXohWgQAAAABAAMAAAACAAMAAAAEAAMAAAAAAP///////wQAAQD///////8FAAAABAAQAAu8Jn7/Kma8T4cCYhax4+i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GrIm8RQEmUTGoDqQmFXwREYXRhAAUAAAAAAk5hbWUADQAAAExpbmtEYXRhTGlzdAAQVmVyc2lvbgABAAAACUxhc3RXcml0ZQC4NDzsjwEAAAABAP////9hAGEAAAAFX2lkABAAAAAEzfSr0ivflEOycQlKAXohWgREYXRhAAUAAAAAAk5hbWUADQAAAExpbmtEYXRhTGlzdAAQVmVyc2lvbgAAAAAACUxhc3RXcml0ZQC2NDzsjwEAAAACAP////9wAHAAAAAFX2lkABAAAAAEvCZ+/ypmvE+HAmIWsePonwNEYXRhABYAAAACUGVyc29uYWxJZAABAAAAAAACTmFtZQALAAAAUGVyc29uYWxJZAAQVmVyc2lvbgAAAAAACUxhc3RXcml0ZQDf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7979851"/>
  <p:tag name="EMPOWERCHARTSPROPERTIES_B_LENGTH" val="24576"/>
  <p:tag name="DOWN_MIGRATION_INITIAL_LAYOUT_REQUIRED" val="9.2.99"/>
  <p:tag name="RUNTIME_ID" val="a7898011-0087-4b52-9936-198114e6e9ad"/>
</p:tagLst>
</file>

<file path=ppt/tags/tag104.xml><?xml version="1.0" encoding="utf-8"?>
<p:tagLst xmlns:a="http://schemas.openxmlformats.org/drawingml/2006/main" xmlns:r="http://schemas.openxmlformats.org/officeDocument/2006/relationships" xmlns:p="http://schemas.openxmlformats.org/presentationml/2006/main">
  <p:tag name="MIO_GUID" val="0e454a8a-b456-4367-82c9-36e73a4400b0"/>
</p:tagLst>
</file>

<file path=ppt/tags/tag105.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Alternative Approaches"/>
  <p:tag name="MIO_AGENDA_EXPLICIT_ITEM_LEVEL_TAG" val="0"/>
  <p:tag name="MIO_AGENDA_NUMBER_STRING_TAG" val="3"/>
  <p:tag name="MIO_AGENDA_SCALEMODE_FIT_TO_SLIDE_TAG" val="True"/>
  <p:tag name="MIO_AGENDA_CREATE_AGENDA_SLIDENUMBERS_TAG" val="True"/>
  <p:tag name="MIO_AGENDA_AUTOMATIC_UPDATE_TAG" val="True"/>
  <p:tag name="MIO_AGENDA_CREATE_SECTIONS_TAG" val="True"/>
  <p:tag name="MIO_EKGUID" val="9739e9ea-f15f-4396-8ec5-d4e31b2ddd21"/>
  <p:tag name="MIO_GUID" val="67fbb08b-e327-4f8f-85b9-ac942d4973e4"/>
  <p:tag name="MIO_VERSION" val="31.12.9999 23:59:59"/>
  <p:tag name="MIO_DBID" val="0F45B44C-9BC7-4D85-81C4-7155EE70A7B9"/>
  <p:tag name="MIO_LASTDOWNLOADED" val="05.06.2024 18:31:58.840"/>
  <p:tag name="MIO_UPDATE" val="False"/>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1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1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19.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1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2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wD///////8DAAAAAwD///////////////////////////////////////////////////////////////////////////////////////////////////////////////////////////////////////////////////////////////////////////////////////////////////////////////////////////////////////////////////////////////////////////////////////////////////////////////////////////////////////////////////////////////////////////////////////////////////////////////////////////////////////////////////////////////8BACAA////////////////AAAO////////AwAAAAMA////////////////////////////////////////////////////////////////////////////////////////////////////////////////////////////////////////////////////////////////////////////////////////////////////////////////////////////////////////////////////////////////////////////////////////////////////////////////////////////////////////////////////////////////////////////////////////////////////////////////////////////////////////////////////////////////////////////////////////////////////////////////////////AgACAP///////wUAAAACABAAC7NNYmQrXsVGsPyWHJtfQXMEAAAAAAADAAAAAAADAAAABAADAAAAAAADAAAAAwADAAQA////////BQAAAAMAEAALY0gJ+lnnWEKwhMEuwV20YQQAAAABAAMAAAAEAAMAAAABAAMAAAACAP///////wMAAAAAAP///////wMAAAAAAP///////wQAAQD///////8FAAAABAAQAAs1za2iK1YFT6BJfyeDmjLe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01iZCtexUaw/JYcm19BcwREYXRhAAUAAAAAAk5hbWUADQAAAExpbmtEYXRhTGlzdAAQVmVyc2lvbgAAAAAACUxhc3RXcml0ZQBluDXpjwEAAAABAP////9hAGEAAAAFX2lkABAAAAAEY0gJ+lnnWEKwhMEuwV20YQREYXRhAAUAAAAAAk5hbWUADQAAAExpbmtEYXRhTGlzdAAQVmVyc2lvbgABAAAACUxhc3RXcml0ZQBmuDXpjwEAAAACAP////9wAHAAAAAFX2lkABAAAAAENc2toitWBU+gSX8ng5oy3gNEYXRhABYAAAACUGVyc29uYWxJZAABAAAAAAACTmFtZQALAAAAUGVyc29uYWxJZAAQVmVyc2lvbgAAAAAACUxhc3RXcml0ZQCUuDX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DAP///////wUAAAADAP///////////////////////////////////////////////////////////////////////////////////////////////////////////////////////////////////////////////////////////////////////////////////////////////////////////////////////////////////////////////////////////////////////////////////////////////////////////////////////////////////////////////////////////////////////////////////////////////////////////////////////////////////////////////////////////////wEAIAH///////////////8AAA7///////8FAAAABAD///////////////////////////////////////////////////////////////////////////////////////////////////////////////////////////////////////////////////////////////////////////////////////////////////////////////////////////////////////////////////////////////////////////////////////////////////////////////////////////////////////////////////////////////////////////////////////////////////////////////////////////////////////////////////////////////////////////////////////////////////////////////////////8CAAIBAwAAAAIA////////DgAGTGlua0RhdGFMaXN0XzAEAAAAAAAFAAAAAAAFAAAAAwAFAAAAAAAFAAAAAwADAAQBAwAAAAMA////////DgAGTGlua0RhdGFMaXN0XzEEAAAAAQAFAAAAAgAFAAAABAAFAAAAAg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013631195193"/>
  <p:tag name="EMPOWERCHARTSPROPERTIES_B_LENGTH" val="24576"/>
  <p:tag name="DOWN_MIGRATION_INITIAL_LAYOUT_REQUIRED" val="9.2.99"/>
  <p:tag name="RUNTIME_ID" val="6b1dc88d-b87d-4ebc-b438-01c43dcb2c32"/>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gsAAAAAAAAAAAAAIAD///////////////8AAAD///////////////8DAAAAAgD///////8DAAAABAD///////8DAAAABAD///////////////////////////////////////////////////////////////////////////////////////////////////////////////////////////////////////////////////////////////////////////////////////////////////////////////////////////////////////////////////////////////////////////////////////////////////////////////////////////////////////////////////////////////////////////////////////////////////////////////////////////////////////////////////////////////////////////////8BACAA////////////////AAAO////////AwAAAAQA////////////////////////////////////////////////////////////////////////////////////////////////////////////////////////////////////////////////////////////////////////////////////////////////////////////////////////////////////////////////////////////////////////////////////////////////////////////////////////////////////////////////////////////////////////////////////////////////////////////////////////////////////////////////////////////////////////////////////////////////////////////////////////AgABAP///////wUAAAACABAAC83DA5CFe/tIgUdhRl/+K/4EAAAAAAADAAAAAAADAAAAAwADAAEA////////BQAAAAMAEAALTxwFldhNUk2e+WehYw8dbgQAAAABAAMAAAACAAMAAAAEAAQAAwD///////8FAAAABAAQAAtdlCbeE9nmQ73j8TPuisIHBAAAAAIAAwAAAAMAAwAAAAE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cMDkIV7+0iBR2FGX/4r/gREYXRhAAUAAAAAAk5hbWUADQAAAExpbmtEYXRhTGlzdAAQVmVyc2lvbgABAAAACUxhc3RXcml0ZQC/uDXpjwEAAAABAP////9hAGEAAAAFX2lkABAAAAAETxwFldhNUk2e+WehYw8dbgREYXRhAAUAAAAAAk5hbWUADQAAAExpbmtEYXRhTGlzdAAQVmVyc2lvbgAAAAAACUxhc3RXcml0ZQC9uDXpjwEAAAACAP////9wAHAAAAAFX2lkABAAAAAEXZQm3hPZ5kO94/Ez7orCBwNEYXRhABYAAAACUGVyc29uYWxJZAABAAAAAAACTmFtZQALAAAAUGVyc29uYWxJZAAQVmVyc2lvbgAAAAAACUxhc3RXcml0ZQDeuDX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013631909955"/>
  <p:tag name="EMPOWERCHARTSPROPERTIES_B_LENGTH" val="24576"/>
  <p:tag name="DOWN_MIGRATION_INITIAL_LAYOUT_REQUIRED" val="9.2.99"/>
  <p:tag name="RUNTIME_ID" val="29c14058-5344-4513-9099-e10c2edcf20b"/>
</p:tagLst>
</file>

<file path=ppt/tags/tag128.xml><?xml version="1.0" encoding="utf-8"?>
<p:tagLst xmlns:a="http://schemas.openxmlformats.org/drawingml/2006/main" xmlns:r="http://schemas.openxmlformats.org/officeDocument/2006/relationships" xmlns:p="http://schemas.openxmlformats.org/presentationml/2006/main">
  <p:tag name="MIO_GUID" val="0e454a8a-b456-4367-82c9-36e73a4400b0"/>
</p:tagLst>
</file>

<file path=ppt/tags/tag129.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References"/>
  <p:tag name="MIO_AGENDA_EXPLICIT_ITEM_LEVEL_TAG" val="0"/>
  <p:tag name="MIO_AGENDA_NUMBER_STRING_TAG" val="4"/>
  <p:tag name="MIO_AGENDA_SCALEMODE_FIT_TO_SLIDE_TAG" val="True"/>
  <p:tag name="MIO_AGENDA_CREATE_AGENDA_SLIDENUMBERS_TAG" val="True"/>
  <p:tag name="MIO_AGENDA_AUTOMATIC_UPDATE_TAG" val="True"/>
  <p:tag name="MIO_AGENDA_CREATE_SECTIONS_TAG" val="True"/>
  <p:tag name="MIO_EKGUID" val="9739e9ea-f15f-4396-8ec5-d4e31b2ddd21"/>
  <p:tag name="MIO_GUID" val="3d61d0f9-2e02-45c0-b815-079a29d5c92f"/>
  <p:tag name="MIO_VERSION" val="31.12.9999 23:59:59"/>
  <p:tag name="MIO_DBID" val="0F45B44C-9BC7-4D85-81C4-7155EE70A7B9"/>
  <p:tag name="MIO_LASTDOWNLOADED" val="05.06.2024 18:31:59.151"/>
  <p:tag name="MIO_UPDATE" val="False"/>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4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1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6.xml><?xml version="1.0" encoding="utf-8"?>
<p:tagLst xmlns:a="http://schemas.openxmlformats.org/drawingml/2006/main" xmlns:r="http://schemas.openxmlformats.org/officeDocument/2006/relationships" xmlns:p="http://schemas.openxmlformats.org/presentationml/2006/main">
  <p:tag name="MIO_GUID" val="0e454a8a-b456-4367-82c9-36e73a4400b0"/>
</p:tagLst>
</file>

<file path=ppt/tags/tag27.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webMethods API Gateway Staging Solution Overview"/>
  <p:tag name="MIO_AGENDA_EXPLICIT_ITEM_LEVEL_TAG" val="0"/>
  <p:tag name="MIO_AGENDA_NUMBER_STRING_TAG" val="1"/>
  <p:tag name="MIO_AGENDA_SCALEMODE_FIT_TO_SLIDE_TAG" val="True"/>
  <p:tag name="MIO_AGENDA_CREATE_AGENDA_SLIDENUMBERS_TAG" val="True"/>
  <p:tag name="MIO_AGENDA_AUTOMATIC_UPDATE_TAG" val="True"/>
  <p:tag name="MIO_AGENDA_CREATE_SECTIONS_TAG" val="True"/>
  <p:tag name="MIO_EKGUID" val="9739e9ea-f15f-4396-8ec5-d4e31b2ddd21"/>
  <p:tag name="MIO_GUID" val="fdc4eacd-fd44-4d16-ab9c-77e35cd8243d"/>
  <p:tag name="MIO_VERSION" val="31.12.9999 23:59:59"/>
  <p:tag name="MIO_DBID" val="0F45B44C-9BC7-4D85-81C4-7155EE70A7B9"/>
  <p:tag name="MIO_LASTDOWNLOADED" val="05.06.2024 18:31:58.236"/>
  <p:tag name="MIO_UPDATE" val="False"/>
</p:tagLst>
</file>

<file path=ppt/tags/tag2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AgD///////8DAAAAAwD///////////////////////////////////////////////////////////////////////////////////////////////////////////////////////////////////////////////////////////////////////////////////////////////////////////////////////////////////////////////////////////////////////////////////////////////////////////////////////////////////////////////////////////////////////////////////////////////////////////////////////////////////////////////////////////////////////////////////////////////8BACAA////////////////AAAO////////AwAAAAMA////////////////////////////////////////////////////////////////////////////////////////////////////////////////////////////////////////////////////////////////////////////////////////////////////////////////////////////////////////////////////////////////////////////////////////////////////////////////////////////////////////////////////////////////////////////////////////////////////////////////////////////////////////////////////////////////////////////////////////////////////////////////////////AgABAP///////wUAAAACABAAC23ETjqAYUZNq5L419hlihQEAAAAAAADAAAAAAADAAAABAADAAIA////////BQAAAAMAEAALVGbv3lA4MkaXhFGsXPS7rAQAAAABAAMAAAAEAAMAAAABAAMAAAAAAP///////wQAAQD///////8FAAAABAAQAAtLhCR6dhKeQq901/oh5Oww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cROOoBhRk2rkvjX2GWKFAREYXRhAAUAAAAAAk5hbWUADQAAAExpbmtEYXRhTGlzdAAQVmVyc2lvbgAAAAAACUxhc3RXcml0ZQA9kyLnjwEAAAABAP////9hAGEAAAAFX2lkABAAAAAEVGbv3lA4MkaXhFGsXPS7rAREYXRhAAUAAAAAAk5hbWUADQAAAExpbmtEYXRhTGlzdAAQVmVyc2lvbgABAAAACUxhc3RXcml0ZQBCkyLnjwEAAAACAP////9wAHAAAAAFX2lkABAAAAAES4QkenYSnkKvdNf6IeTsMANEYXRhABYAAAACUGVyc29uYWxJZAABAAAAAAACTmFtZQALAAAAUGVyc29uYWxJZAAQVmVyc2lvbgAAAAAACUxhc3RXcml0ZQBm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39789546"/>
  <p:tag name="EMPOWERCHARTSPROPERTIES_B_LENGTH" val="24576"/>
  <p:tag name="DOWN_MIGRATION_INITIAL_LAYOUT_REQUIRED" val="9.2.99"/>
  <p:tag name="RUNTIME_ID" val="3ac41560-7236-42cc-8551-d154dd27c1b5"/>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SHAPEINFOGUID" val="1099a040-b4d0-4b06-b960-3b08bb690ff9"/>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MA////////////////////////////////////////////////////////////////////////////////////////////////////////////////////////////////////////////////////////////////////////////////////////////////////////////////////////////////////////////////////////////////////////////////////////////////////////////////////////////////////////////////////////////////////////////////////////////////////////////////////////////////////////////////////////////////////////////////////////////////////////////////////////AgABAP///////wUAAAACABAAC9U6PDd+3opJtHFUEFJSxoAEAAAAAAADAAAAAAADAAAABAADAAEA////////BQAAAAMAEAALLmL9mEUVAk6fftAmBP1vGQQAAAABAAMAAAAEAAMAAAABAAQAAgD///////8FAAAABAAQAAs1wYiEqgTET53TbTnGfULL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To8N37eikm0cVQQUlLGgAREYXRhAAUAAAAAAk5hbWUADQAAAExpbmtEYXRhTGlzdAAQVmVyc2lvbgAAAAAACUxhc3RXcml0ZQDakyLnjwEAAAABAP////9hAGEAAAAFX2lkABAAAAAELmL9mEUVAk6fftAmBP1vGQREYXRhAAUAAAAAAk5hbWUADQAAAExpbmtEYXRhTGlzdAAQVmVyc2lvbgABAAAACUxhc3RXcml0ZQDbkyLnjwEAAAACAP////9wAHAAAAAFX2lkABAAAAAENcGIhKoExE+d0205xn1CywNEYXRhABYAAAACUGVyc29uYWxJZAABAAAAAAACTmFtZQALAAAAUGVyc29uYWxJZAAQVmVyc2lvbgAAAAAACUxhc3RXcml0ZQD9kyLn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665541307174"/>
  <p:tag name="EMPOWERCHARTSPROPERTIES_B_LENGTH" val="24576"/>
  <p:tag name="DOWN_MIGRATION_INITIAL_LAYOUT_REQUIRED" val="9.2.99"/>
  <p:tag name="RUNTIME_ID" val="946b244f-b8fc-4dfc-aeef-4b725db9fd69"/>
</p:tagLst>
</file>

<file path=ppt/tags/tag59.xml><?xml version="1.0" encoding="utf-8"?>
<p:tagLst xmlns:a="http://schemas.openxmlformats.org/drawingml/2006/main" xmlns:r="http://schemas.openxmlformats.org/officeDocument/2006/relationships" xmlns:p="http://schemas.openxmlformats.org/presentationml/2006/main">
  <p:tag name="MIO_GUID" val="0e454a8a-b456-4367-82c9-36e73a4400b0"/>
</p:tagLst>
</file>

<file path=ppt/tags/tag6.xml><?xml version="1.0" encoding="utf-8"?>
<p:tagLst xmlns:a="http://schemas.openxmlformats.org/drawingml/2006/main" xmlns:r="http://schemas.openxmlformats.org/officeDocument/2006/relationships" xmlns:p="http://schemas.openxmlformats.org/presentationml/2006/main">
  <p:tag name="TOP" val="89,12504"/>
  <p:tag name="LEFT" val="31,12504"/>
  <p:tag name="WIDTH" val="657,75"/>
  <p:tag name="HEIGHT" val="274,375"/>
</p:tagLst>
</file>

<file path=ppt/tags/tag60.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Implementation and Configuration"/>
  <p:tag name="MIO_AGENDA_EXPLICIT_ITEM_LEVEL_TAG" val="0"/>
  <p:tag name="MIO_AGENDA_NUMBER_STRING_TAG" val="2"/>
  <p:tag name="MIO_AGENDA_SCALEMODE_FIT_TO_SLIDE_TAG" val="True"/>
  <p:tag name="MIO_AGENDA_CREATE_AGENDA_SLIDENUMBERS_TAG" val="True"/>
  <p:tag name="MIO_AGENDA_AUTOMATIC_UPDATE_TAG" val="True"/>
  <p:tag name="MIO_AGENDA_CREATE_SECTIONS_TAG" val="True"/>
  <p:tag name="MIO_EKGUID" val="9739e9ea-f15f-4396-8ec5-d4e31b2ddd21"/>
  <p:tag name="MIO_GUID" val="64a24cbb-e2f0-4890-b0f3-a87d5ba313f1"/>
  <p:tag name="MIO_VERSION" val="31.12.9999 23:59:59"/>
  <p:tag name="MIO_DBID" val="0F45B44C-9BC7-4D85-81C4-7155EE70A7B9"/>
  <p:tag name="MIO_LASTDOWNLOADED" val="05.06.2024 18:31:58.541"/>
  <p:tag name="MIO_UPDATE" val="False"/>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4.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6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7.xml><?xml version="1.0" encoding="utf-8"?>
<p:tagLst xmlns:a="http://schemas.openxmlformats.org/drawingml/2006/main" xmlns:r="http://schemas.openxmlformats.org/officeDocument/2006/relationships" xmlns:p="http://schemas.openxmlformats.org/presentationml/2006/main">
  <p:tag name="MIO_GUID" val="0e454a8a-b456-4367-82c9-36e73a4400b0"/>
</p:tagLst>
</file>

<file path=ppt/tags/tag7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71.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7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7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0eYbML8A6hFsiqsved5LIIEAAAAAAADAAAABAADAAAAAwADAAAABAD///////8DAAAAAAD///////8DAAEA////////BQAAAAMAEAALpuCC00hZM0Kx1qXA6lQm1QQAAAABAAMAAAACAAMAAAABAAQAAgD///////8FAAAABAAQAAugkJyrPksKQqcXmp1WsoUu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5hswvwDqEWyKqy953ksggREYXRhAAUAAAAAAk5hbWUADQAAAExpbmtEYXRhTGlzdAAQVmVyc2lvbgABAAAACUxhc3RXcml0ZQDpMzzsjwEAAAABAP////9hAGEAAAAFX2lkABAAAAAEpuCC00hZM0Kx1qXA6lQm1QREYXRhAAUAAAAAAk5hbWUADQAAAExpbmtEYXRhTGlzdAAQVmVyc2lvbgAAAAAACUxhc3RXcml0ZQDXMzzsjwEAAAACAP////9wAHAAAAAFX2lkABAAAAAEoJCcqz5LCkKnF5qdVrKFLgNEYXRhABYAAAACUGVyc29uYWxJZAABAAAAAAACTmFtZQALAAAAUGVyc29uYWxJZAAQVmVyc2lvbgAAAAAACUxhc3RXcml0ZQAt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6194484"/>
  <p:tag name="EMPOWERCHARTSPROPERTIES_B_LENGTH" val="24576"/>
  <p:tag name="DOWN_MIGRATION_INITIAL_LAYOUT_REQUIRED" val="9.2.99"/>
  <p:tag name="RUNTIME_ID" val="413f30d7-896c-4f59-b690-9d59e5a664e5"/>
</p:tagLst>
</file>

<file path=ppt/tags/tag8.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SCALEMODE_FIT_TO_SLIDE_TAG" val="True"/>
  <p:tag name="MIO_AGENDA_CREATE_AGENDA_SLIDENUMBERS_TAG" val="True"/>
  <p:tag name="MIO_AGENDA_AUTOMATIC_UPDATE_TAG" val="True"/>
  <p:tag name="MIO_AGENDA_CREATE_SECTIONS_TAG" val="True"/>
  <p:tag name="MIO_EKGUID" val="9739e9ea-f15f-4396-8ec5-d4e31b2ddd21"/>
  <p:tag name="MIO_GUID" val="757ca916-eeb5-4ebe-90e9-dfc2a5a0b226"/>
  <p:tag name="MIO_VERSION" val="31.12.9999 23:59:59"/>
  <p:tag name="MIO_DBID" val="0F45B44C-9BC7-4D85-81C4-7155EE70A7B9"/>
  <p:tag name="MIO_LASTDOWNLOADED" val="05.06.2024 18:31:57.959"/>
  <p:tag name="MIO_UPDATE" val="False"/>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1iRqyJvEUBJlExqA6kJhV8EAAAAAAADAAAAAAADAAAAAwADAAIA////////BQAAAAMAEAALzfSr0ivflEOycQlKAXohWgQAAAABAAMAAAACAAMAAAAEAAMAAAAAAP///////wQAAQD///////8FAAAABAAQAAu8Jn7/Kma8T4cCYhax4+i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GrIm8RQEmUTGoDqQmFXwREYXRhAAUAAAAAAk5hbWUADQAAAExpbmtEYXRhTGlzdAAQVmVyc2lvbgABAAAACUxhc3RXcml0ZQC4NDzsjwEAAAABAP////9hAGEAAAAFX2lkABAAAAAEzfSr0ivflEOycQlKAXohWgREYXRhAAUAAAAAAk5hbWUADQAAAExpbmtEYXRhTGlzdAAQVmVyc2lvbgAAAAAACUxhc3RXcml0ZQC2NDzsjwEAAAACAP////9wAHAAAAAFX2lkABAAAAAEvCZ+/ypmvE+HAmIWsePonwNEYXRhABYAAAACUGVyc29uYWxJZAABAAAAAAACTmFtZQALAAAAUGVyc29uYWxJZAAQVmVyc2lvbgAAAAAACUxhc3RXcml0ZQDf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7979851"/>
  <p:tag name="EMPOWERCHARTSPROPERTIES_B_LENGTH" val="24576"/>
  <p:tag name="DOWN_MIGRATION_INITIAL_LAYOUT_REQUIRED" val="9.2.99"/>
  <p:tag name="RUNTIME_ID" val="a5153d50-f816-4701-8cb5-a99f71591aed"/>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0eYbML8A6hFsiqsved5LIIEAAAAAAADAAAABAADAAAAAwADAAAABAD///////8DAAAAAAD///////8DAAEA////////BQAAAAMAEAALpuCC00hZM0Kx1qXA6lQm1QQAAAABAAMAAAACAAMAAAABAAQAAgD///////8FAAAABAAQAAugkJyrPksKQqcXmp1WsoUu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5hswvwDqEWyKqy953ksggREYXRhAAUAAAAAAk5hbWUADQAAAExpbmtEYXRhTGlzdAAQVmVyc2lvbgABAAAACUxhc3RXcml0ZQDpMzzsjwEAAAABAP////9hAGEAAAAFX2lkABAAAAAEpuCC00hZM0Kx1qXA6lQm1QREYXRhAAUAAAAAAk5hbWUADQAAAExpbmtEYXRhTGlzdAAQVmVyc2lvbgAAAAAACUxhc3RXcml0ZQDXMzzsjwEAAAACAP////9wAHAAAAAFX2lkABAAAAAEoJCcqz5LCkKnF5qdVrKFLgNEYXRhABYAAAACUGVyc29uYWxJZAABAAAAAAACTmFtZQALAAAAUGVyc29uYWxJZAAQVmVyc2lvbgAAAAAACUxhc3RXcml0ZQAt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6194484"/>
  <p:tag name="EMPOWERCHARTSPROPERTIES_B_LENGTH" val="24576"/>
  <p:tag name="DOWN_MIGRATION_INITIAL_LAYOUT_REQUIRED" val="9.2.99"/>
  <p:tag name="RUNTIME_ID" val="50717378-41b3-4e1e-85f1-e06ddf53c339"/>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0eYbML8A6hFsiqsved5LIIEAAAAAAADAAAABAADAAAAAwADAAAABAD///////8DAAAAAAD///////8DAAEA////////BQAAAAMAEAALpuCC00hZM0Kx1qXA6lQm1QQAAAABAAMAAAACAAMAAAABAAQAAgD///////8FAAAABAAQAAugkJyrPksKQqcXmp1WsoUu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5hswvwDqEWyKqy953ksggREYXRhAAUAAAAAAk5hbWUADQAAAExpbmtEYXRhTGlzdAAQVmVyc2lvbgABAAAACUxhc3RXcml0ZQDpMzzsjwEAAAABAP////9hAGEAAAAFX2lkABAAAAAEpuCC00hZM0Kx1qXA6lQm1QREYXRhAAUAAAAAAk5hbWUADQAAAExpbmtEYXRhTGlzdAAQVmVyc2lvbgAAAAAACUxhc3RXcml0ZQDXMzzsjwEAAAACAP////9wAHAAAAAFX2lkABAAAAAEoJCcqz5LCkKnF5qdVrKFLgNEYXRhABYAAAACUGVyc29uYWxJZAABAAAAAAACTmFtZQALAAAAUGVyc29uYWxJZAAQVmVyc2lvbgAAAAAACUxhc3RXcml0ZQAtNDzs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521196194484"/>
  <p:tag name="EMPOWERCHARTSPROPERTIES_B_LENGTH" val="24576"/>
  <p:tag name="DOWN_MIGRATION_INITIAL_LAYOUT_REQUIRED" val="9.2.99"/>
  <p:tag name="RUNTIME_ID" val="955a2a98-1906-4950-9bf2-b38fae113960"/>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1rTDK1mZnRJqCbNA1IeCkEEAAAAAAADAAAAAAADAAAAAwADAAAAAAADAAAABAADAAEA////////BQAAAAMAEAALEPNGsJ/rjUmrSBAghs4olQQAAAABAAMAAAACAAMAAAAEAAQAAgD///////8FAAAABAAQAAs24r/7mi9+SqFQ/KVUM0PU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tMMrWZmdEmoJs0DUh4KQQREYXRhAAUAAAAAAk5hbWUADQAAAExpbmtEYXRhTGlzdAAQVmVyc2lvbgAAAAAACUxhc3RXcml0ZQA6AwvpjwEAAAABAP////9hAGEAAAAFX2lkABAAAAAEEPNGsJ/rjUmrSBAghs4olQREYXRhAAUAAAAAAk5hbWUADQAAAExpbmtEYXRhTGlzdAAQVmVyc2lvbgABAAAACUxhc3RXcml0ZQA6AwvpjwEAAAACAP////9wAHAAAAAFX2lkABAAAAAENuK/+5ovfkqhUPylVDND1ANEYXRhABYAAAACUGVyc29uYWxJZAABAAAAAAACTmFtZQALAAAAUGVyc29uYWxJZAAQVmVyc2lvbgAAAAAACUxhc3RXcml0ZQBRAwv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85641955622"/>
  <p:tag name="EMPOWERCHARTSPROPERTIES_B_LENGTH" val="24576"/>
  <p:tag name="DOWN_MIGRATION_INITIAL_LAYOUT_REQUIRED" val="9.2.99"/>
  <p:tag name="RUNTIME_ID" val="1e09a90f-261b-4fc7-92d1-a63768f3afb3"/>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MA////////////////////////////////////////////////////////////////////////////////////////////////////////////////////////////////////////////////////////////////////////////////////////////////////////////////////////////////////////////////////////////////////////////////////////////////////////////////////////////////////////////////////////////////////////////////////////////////////////////////////////////////////////////////////////////////////////////////////////////////////////////////////////AgAEAP///////wUAAAACABAACxE4uTTnVwhLswkPUePEAPoEAAAAAAADAAAAAAADAAAABAADAAAAAAADAAAAAwADAAAAAAD///////8DAAAAAAD///////8DAAIA////////BQAAAAMAEAALzMs2js21IEuAzBCuYYeo0AQAAAABAAMAAAAEAAMAAAABAAMAAAACAP///////wQAAQD///////8FAAAABAAQAAvsPWpkfHYfQaAIwQMk8p0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Ti5NOdXCEuzCQ9R48QA+gREYXRhAAUAAAAAAk5hbWUADQAAAExpbmtEYXRhTGlzdAAQVmVyc2lvbgABAAAACUxhc3RXcml0ZQBuGwvpjwEAAAABAP////9hAGEAAAAFX2lkABAAAAAEzMs2js21IEuAzBCuYYeo0AREYXRhAAUAAAAAAk5hbWUADQAAAExpbmtEYXRhTGlzdAAQVmVyc2lvbgAAAAAACUxhc3RXcml0ZQBlGwvpjwEAAAACAP////9wAHAAAAAFX2lkABAAAAAE7D1qZHx2H0GgCMEDJPKdKgNEYXRhABYAAAACUGVyc29uYWxJZAABAAAAAAACTmFtZQALAAAAUGVyc29uYWxJZAAQVmVyc2lvbgAAAAAACUxhc3RXcml0ZQCCGwv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CAP///////wUAAAACAP///////////////////////////////////////////////////////////////////////////////////////////////////////////////////////////////////////////////////////////////////////////////////////////////////////////////////////////////////////////////////////////////////////////////////////////////////////////////////////////////////////////////////////////////////////////////////////////////////////////////////////////////////////////////////////////////wEAIAH///////////////8AAA7///////8FAAAABAD///////////////////////////////////////////////////////////////////////////////////////////////////////////////////////////////////////////////////////////////////////////////////////////////////////////////////////////////////////////////////////////////////////////////////////////////////////////////////////////////////////////////////////////////////////////////////////////////////////////////////////////////////////////////////////////////////////////////////////////////////////////////////////8CAAQBAwAAAAIA////////DgAGTGlua0RhdGFMaXN0XzEEAAAAAAAFAAAAAwAFAAAABAAFAAAAAwAFAAAABAAFAAAAAAAFAAAABAAFAAAAAAD///////8DAAIBAwAAAAMA////////DgAGTGlua0RhdGFMaXN0XzAEAAAAAQ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85703914567"/>
  <p:tag name="EMPOWERCHARTSPROPERTIES_B_LENGTH" val="24576"/>
  <p:tag name="DOWN_MIGRATION_INITIAL_LAYOUT_REQUIRED" val="9.2.99"/>
  <p:tag name="RUNTIME_ID" val="1c576e1c-ec38-48cc-90c9-532ff8c440b6"/>
</p:tagLst>
</file>

<file path=ppt/tags/tag8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3giSya5iBdBh/KFpbAf+7YEAAAAAAADAAAAAAADAAAAAwADAAEA////////BQAAAAMAEAALv0+/ORWxu0SQITcWWhv0aQQAAAABAAMAAAACAAMAAAAEAAQAAQD///////8FAAAABAAQAAvotjqQCbvkQZ7W7gu+zGa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CJLJrmIF0GH8oWlsB/7tgREYXRhAAUAAAAAAk5hbWUADQAAAExpbmtEYXRhTGlzdAAQVmVyc2lvbgAAAAAACUxhc3RXcml0ZQA+DDHpjwEAAAABAP////9hAGEAAAAFX2lkABAAAAAEv0+/ORWxu0SQITcWWhv0aQREYXRhAAUAAAAAAk5hbWUADQAAAExpbmtEYXRhTGlzdAAQVmVyc2lvbgABAAAACUxhc3RXcml0ZQA+DDHpjwEAAAACAP////9wAHAAAAAFX2lkABAAAAAE6LY6kAm75EGe1u4LvsxmjgNEYXRhABYAAAACUGVyc29uYWxJZAABAAAAAAACTmFtZQALAAAAUGVyc29uYWxJZAAQVmVyc2lvbgAAAAAACUxhc3RXcml0ZQBUDDH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010568672994"/>
  <p:tag name="EMPOWERCHARTSPROPERTIES_B_LENGTH" val="24576"/>
  <p:tag name="DOWN_MIGRATION_INITIAL_LAYOUT_REQUIRED" val="9.2.99"/>
  <p:tag name="RUNTIME_ID" val="53919953-b170-4297-b468-5cee18a944fc"/>
</p:tagLst>
</file>

<file path=ppt/tags/tag8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2gsAAAAAAAAAAAAAIAD///////////////8AAAD///////////////8DAAAABAD///////8DAAAABAD///////8DAAAABAD///////8DAAAABAD///////////////////////////////////////////////////////////////////////////////////////////////////////////////////////////////////////////////////////////////////////////////////////////////////////////////////////////////////////////////////////////////////////////////////////////////////////////////////////////////////////////////////////////////////////////////////////////////////////////////////////////////////////////////////////////////8BACAA////////////////AAAO////////AwAAAAMA////////////////////////////////////////////////////////////////////////////////////////////////////////////////////////////////////////////////////////////////////////////////////////////////////////////////////////////////////////////////////////////////////////////////////////////////////////////////////////////////////////////////////////////////////////////////////////////////////////////////////////////////////////////////////////////////////////////////////////////////////////////////////////AgABAP///////wUAAAACABAACxGfbHXKKRtGsNz2kNkHCzcEAAAAAAADAAAABAADAAAAAwADAAMA////////BQAAAAMAEAALkwFTniSz/kGn+DPwyXlIIQQAAAABAAMAAAACAAMAAAABAAMAAAAEAP///////wMAAAAEAP///////wQABAD///////8FAAAABAAQAAu6kBFtbegiS4wRyVF0kRhLBAAAAAIAAwAAAAAAAwAAAAIAAwAAAAA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Z9sdcopG0aw3PaQ2QcLNwREYXRhAAUAAAAAAk5hbWUADQAAAExpbmtEYXRhTGlzdAAQVmVyc2lvbgABAAAACUxhc3RXcml0ZQDnTzHpjwEAAAABAP////9hAGEAAAAFX2lkABAAAAAEkwFTniSz/kGn+DPwyXlIIQREYXRhAAUAAAAAAk5hbWUADQAAAExpbmtEYXRhTGlzdAAQVmVyc2lvbgAAAAAACUxhc3RXcml0ZQDnTzHpjwEAAAACAP////9wAHAAAAAFX2lkABAAAAAEupARbW3oIkuMEclRdJEYSwNEYXRhABYAAAACUGVyc29uYWxJZAABAAAAAAACTmFtZQALAAAAUGVyc29uYWxJZAAQVmVyc2lvbgAAAAAACUxhc3RXcml0ZQD6TzH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EBAwAAAAIA////////DgAGTGlua0RhdGFMaXN0XzEEAAAAAAAFAAAAAwAFAAAABAADAAMBAwAAAAMA////////DgAGTGlua0RhdGFMaXN0XzAEAAAAAQAFAAAAAAAFAAAAAgAFAAAAAAAFAAAABAAFAAAAAAD///////8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2010741892545"/>
  <p:tag name="EMPOWERCHARTSPROPERTIES_B_LENGTH" val="24576"/>
  <p:tag name="DOWN_MIGRATION_INITIAL_LAYOUT_REQUIRED" val="9.2.99"/>
  <p:tag name="RUNTIME_ID" val="9e7699b3-9042-4eda-81d3-42d220f0025f"/>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2gsAAAAAAAAAAAAAIAD///////////////8AAAD///////////////8DAAAAAgD///////8DAAAAAgD///////8DAAAAAgD///////8DAAAAAwD///////////////////////////////////////////////////////////////////////////////////////////////////////////////////////////////////////////////////////////////////////////////////////////////////////////////////////////////////////////////////////////////////////////////////////////////////////////////////////////////////////////////////////////////////////////////////////////////////////////////////////////////////////////////////////////////8BACAA////////////////AAAO////////AwAAAAMA////////////////////////////////////////////////////////////////////////////////////////////////////////////////////////////////////////////////////////////////////////////////////////////////////////////////////////////////////////////////////////////////////////////////////////////////////////////////////////////////////////////////////////////////////////////////////////////////////////////////////////////////////////////////////////////////////////////////////////////////////////////////////////AgADAP///////wUAAAACABAACyTHejkEA6BIoZ54Ga1M/yEEAAAAAAADAAAAAAADAAAABAADAAAAAAADAAAAAwADAAAAAAADAAAAAwADAAQA////////BQAAAAMAEAALtF8V17ZOQkCbTTy+wm8pywQAAAABAAMAAAAEAAMAAAABAAMAAAACAP///////wMAAAACAP///////wMAAAAAAP///////wQAAQD///////8FAAAABAAQAAv/keCjR5FERYkhC6l5XOix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Md6OQQDoEihnngZrUz/IQREYXRhAAUAAAAAAk5hbWUADQAAAExpbmtEYXRhTGlzdAAQVmVyc2lvbgABAAAACUxhc3RXcml0ZQDToQzpjwEAAAABAP////9hAGEAAAAFX2lkABAAAAAEtF8V17ZOQkCbTTy+wm8pywREYXRhAAUAAAAAAk5hbWUADQAAAExpbmtEYXRhTGlzdAAQVmVyc2lvbgAAAAAACUxhc3RXcml0ZQDToQzpjwEAAAACAP////9wAHAAAAAFX2lkABAAAAAE/5Hgo0eRREWJIQupeVzosQNEYXRhABYAAAACUGVyc29uYWxJZAABAAAAAAACTmFtZQALAAAAUGVyc29uYWxJZAAQVmVyc2lvbgAAAAAACUxhc3RXcml0ZQDsoQz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EAIAH///////////////8AAA7///////8FAAAABAD///////////////////////////////////////////////////////////////////////////////////////////////////////////////////////////////////////////////////////////////////////////////////////////////////////////////////////////////////////////////////////////////////////////////////////////////////////////////////////////////////////////////////////////////////////////////////////////////////////////////////////////////////////////////////////////////////////////////////////////////////////////////////////8CAAMBAwAAAAIA////////DgAGTGlua0RhdGFMaXN0XzEEAAAAAAAFAAAAAwAFAAAABAAFAAAAAwAFAAAABAAFAAAAAwD///////8DAAQBAwAAAAMA////////DgAGTGlua0RhdGFMaXN0XzAEAAAAAQAFAAAAAAAFAAAAAgAFAAAAAAAFAAAAAgAFAAAAAAAFAAAAAgAFAAAAAAD///////8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86703367199"/>
  <p:tag name="EMPOWERCHARTSPROPERTIES_B_LENGTH" val="24576"/>
  <p:tag name="DOWN_MIGRATION_INITIAL_LAYOUT_REQUIRED" val="9.2.99"/>
  <p:tag name="RUNTIME_ID" val="c865424e-cce3-48a6-bc1a-8956fcbfb45b"/>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wDwVjlZbz5Kqlbq9GuiXkgEAAAAAAADAAAAAAADAAAAAwADAAAAAAADAAAABAADAAEA////////BQAAAAMAEAALuoy7TxiFw0u5TSkliamlCQQAAAABAAMAAAACAAMAAAAEAAQAAgD///////8FAAAABAAQAAtONfh4Uj87R6TqYP1kquNZ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PBWOVlvPkqqVur0a6JeSAREYXRhAAUAAAAAAk5hbWUADQAAAExpbmtEYXRhTGlzdAAQVmVyc2lvbgABAAAACUxhc3RXcml0ZQCbuQzpjwEAAAABAP////9hAGEAAAAFX2lkABAAAAAEuoy7TxiFw0u5TSkliamlCQREYXRhAAUAAAAAAk5hbWUADQAAAExpbmtEYXRhTGlzdAAQVmVyc2lvbgAAAAAACUxhc3RXcml0ZQB/uQzpjwEAAAACAP////9wAHAAAAAFX2lkABAAAAAETjX4eFI/O0ek6mD9ZKrjWQNEYXRhABYAAAACUGVyc29uYWxJZAABAAAAAAACTmFtZQALAAAAUGVyc29uYWxJZAAQVmVyc2lvbgAAAAAACUxhc3RXcml0ZQC6uQz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CAP///////////////////////////////////////////////////////////////////////////////////////////////////////////////////////////////////////////////////////////////////////////////////////////////////////////////////////////////////////////////////////////////////////////////////////////////////////////////////////////////////////////////////////////////////////////////////////////////////////////////////////////////////////////////////////////////////////////////////////////////wEAIAH///////////////8AAA7///////8FAAAABAD///////////////////////////////////////////////////////////////////////////////////////////////////////////////////////////////////////////////////////////////////////////////////////////////////////////////////////////////////////////////////////////////////////////////////////////////////////////////////////////////////////////////////////////////////////////////////////////////////////////////////////////////////////////////////////////////////////////////////////////////////////////////////////8CAAIBAwAAAAIA////////DgAGTGlua0RhdGFMaXN0XzEEAAAAAAAFAAAAAwAFAAAABAA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86764306711"/>
  <p:tag name="EMPOWERCHARTSPROPERTIES_B_LENGTH" val="24576"/>
  <p:tag name="DOWN_MIGRATION_INITIAL_LAYOUT_REQUIRED" val="9.2.99"/>
  <p:tag name="RUNTIME_ID" val="26a04da2-5930-43b3-ab42-43bdd63c7163"/>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MBAQEBAQEBAQEBAQEBAQMAAAAAAAAAAwAAAAMAAAAA/////wUAzgsAAAAAAAAAAAAAIAD///////////////8AAAD///////////////8DAAAAAgD///////8DAAAABAD///////8DAAAABAD///////8DAAAABAD///////8DAAAABAD///////8DAAAABAD///////8DAAAABAD///////////////////////////////////////////////////////////////////////////////////////////////////////////////////////////////////////////////////////////////////////////////////////////////////////////////////////////////////////////////////////////////////////////////////////////////////////////////////////////////////////////////////////////////////////////////////////////////////////////////8BACAA////////////////AAAO////////AwAAAAMA////////////////////////////////////////////////////////////////////////////////////////////////////////////////////////////////////////////////////////////////////////////////////////////////////////////////////////////////////////////////////////////////////////////////////////////////////////////////////////////////////////////////////////////////////////////////////////////////////////////////////////////////////////////////////////////////////////////////////////////////////////////////////////AgABAP///////wUAAAACABAAC/TV3ws1y7NGi7cWoqonGGEEAAAAAAADAAAAAAADAAAABAADAAEA////////BQAAAAMAEAALORfau8G58kuf1/O6Ez08awQAAAABAAMAAAAEAAMAAAABAAQABwD///////8FAAAABAAQAAv7bkMdXYtJQ6FkxBGbeg11BAAAAAIAAwAAAAIAAwAAAAM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NXfCzXLs0aLtxaiqicYYQREYXRhAAUAAAAAAk5hbWUADQAAAExpbmtEYXRhTGlzdAAQVmVyc2lvbgABAAAACUxhc3RXcml0ZQAMAw3pjwEAAAABAP////9hAGEAAAAFX2lkABAAAAAEORfau8G58kuf1/O6Ez08awREYXRhAAUAAAAAAk5hbWUADQAAAExpbmtEYXRhTGlzdAAQVmVyc2lvbgAAAAAACUxhc3RXcml0ZQALAw3pjwEAAAACAP////9wAHAAAAAFX2lkABAAAAAE+25DHV2LSUOhZMQRm3oNdQNEYXRhABYAAAACUGVyc29uYWxJZAABAAAAAAACTmFtZQALAAAAUGVyc29uYWxJZAAQVmVyc2lvbgAAAAAACUxhc3RXcml0ZQAgAw3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86952156361"/>
  <p:tag name="EMPOWERCHARTSPROPERTIES_B_LENGTH" val="24576"/>
  <p:tag name="DOWN_MIGRATION_INITIAL_LAYOUT_REQUIRED" val="9.2.99"/>
  <p:tag name="RUNTIME_ID" val="0cc5cf0b-7f99-4542-9d9e-dbfb87c69243"/>
</p:tagLst>
</file>

<file path=ppt/tags/tag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2gsAAAAAAAAAAAAAIAD///////////////8AAAD///////////////8DAAAAAgD///////8DAAAAAgD///////8DAAAAAwD///////8DAAAAAwD///////////////////////////////////////////////////////////////////////////////////////////////////////////////////////////////////////////////////////////////////////////////////////////////////////////////////////////////////////////////////////////////////////////////////////////////////////////////////////////////////////////////////////////////////////////////////////////////////////////////////////////////////////////////////////////////8BACAA////////////////AAAO////////AwAAAAMA////////////////////////////////////////////////////////////////////////////////////////////////////////////////////////////////////////////////////////////////////////////////////////////////////////////////////////////////////////////////////////////////////////////////////////////////////////////////////////////////////////////////////////////////////////////////////////////////////////////////////////////////////////////////////////////////////////////////////////////////////////////////////////AgACAP///////wUAAAACABAAC+6izQStzeJBrlkfRePSWUAEAAAAAAADAAAAAAADAAAABAADAAAAAAADAAAABAADAAQA////////BQAAAAMAEAALQSIP+wFALUmKYO6xTf3WMwQAAAABAAMAAAAEAAMAAAABAAMAAAAEAP///////wMAAAAAAP///////wMAAAAAAP///////wQAAgD///////8FAAAABAAQAAupQdyksBLqTIhBI9IfSf4n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qLNBK3N4kGuWR9F49JZQAREYXRhAAUAAAAAAk5hbWUADQAAAExpbmtEYXRhTGlzdAAQVmVyc2lvbgAAAAAACUxhc3RXcml0ZQAWXBjpjwEAAAABAP////9hAGEAAAAFX2lkABAAAAAEQSIP+wFALUmKYO6xTf3WMwREYXRhAAUAAAAAAk5hbWUADQAAAExpbmtEYXRhTGlzdAAQVmVyc2lvbgABAAAACUxhc3RXcml0ZQAWXBjpjwEAAAACAP////9wAHAAAAAFX2lkABAAAAAEqUHcpLAS6kyIQSPSH0n+JwNEYXRhABYAAAACUGVyc29uYWxJZAABAAAAAAACTmFtZQALAAAAUGVyc29uYWxJZAAQVmVyc2lvbgAAAAAACUxhc3RXcml0ZQA+XB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EAP///////////////////////////////////////////////////////////////////////////////////////////////////////////////////////////////////////////////////////////////////////////////////////////////////////////////////////////////////////////////////////////////////////////////////////////////////////////////////////////////////////////////////////////////////////////////////////////////////////////////////////////////////////////////wEAIAH///////////////8AAA7///////8FAAAABAD///////////////////////////////////////////////////////////////////////////////////////////////////////////////////////////////////////////////////////////////////////////////////////////////////////////////////////////////////////////////////////////////////////////////////////////////////////////////////////////////////////////////////////////////////////////////////////////////////////////////////////////////////////////////////////////////////////////////////////////////////////////////////////8CAAIBAwAAAAIA////////DgAGTGlua0RhdGFMaXN0XzAEAAAAAAAFAAAAAAAFAAAAAwAFAAAAAAAFAAAAAwADAAQBAwAAAAMA////////DgAGTGlua0RhdGFMaXN0XzEEAAAAAQAFAAAAAgAFAAAABAAFAAAAAgAFAAAABAAFAAAAAAAFAAAABAAFAAAAAAAFAAAABAAEAAUBAwAAAAQA////////DAAGUGVyc29uYWxJZF8wBAAAAAIABQAAAAMABQAAAAEABQAAAAM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89290862"/>
  <p:tag name="EMPOWERCHARTSPROPERTIES_B_LENGTH" val="24576"/>
  <p:tag name="DOWN_MIGRATION_INITIAL_LAYOUT_REQUIRED" val="9.2.99"/>
  <p:tag name="RUNTIME_ID" val="4187f31b-0d85-46de-bf6b-7db084a68632"/>
</p:tagLst>
</file>

<file path=ppt/tags/tag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MA////////////////////////////////////////////////////////////////////////////////////////////////////////////////////////////////////////////////////////////////////////////////////////////////////////////////////////////////////////////////////////////////////////////////////////////////////////////////////////////////////////////////////////////////////////////////////////////////////////////////////////////////////////////////////////////////////////////////////////////////////////////////////////AgABAP///////wUAAAACABAAC9YHgGDQb7ZHoxZVOJfp6UQEAAAAAAADAAAAAAADAAAABAADAAEA////////BQAAAAMAEAALvStU5ohGQ02LuFNDIX28FAQAAAABAAMAAAAEAAMAAAABAAQAAgD///////8FAAAABAAQAAsmxc3SZ1BfSruWLaMuwuqHBAAAAAIAAwAAAAI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1geAYNBvtkejFlU4l+npRAREYXRhAAUAAAAAAk5hbWUADQAAAExpbmtEYXRhTGlzdAAQVmVyc2lvbgAAAAAACUxhc3RXcml0ZQCkUBjpjwEAAAABAP////9hAGEAAAAFX2lkABAAAAAEvStU5ohGQ02LuFNDIX28FAREYXRhAAUAAAAAAk5hbWUADQAAAExpbmtEYXRhTGlzdAAQVmVyc2lvbgABAAAACUxhc3RXcml0ZQClUBjpjwEAAAACAP////9wAHAAAAAFX2lkABAAAAAEJsXN0mdQX0q7li2jLsLqhwNEYXRhABYAAAACUGVyc29uYWxJZAABAAAAAAACTmFtZQALAAAAUGVyc29uYWxJZAAQVmVyc2lvbgAAAAAACUxhc3RXcml0ZQC2UB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59745490"/>
  <p:tag name="EMPOWERCHARTSPROPERTIES_B_LENGTH" val="24576"/>
  <p:tag name="DOWN_MIGRATION_INITIAL_LAYOUT_REQUIRED" val="9.2.99"/>
  <p:tag name="RUNTIME_ID" val="a5834bb8-b2a2-4ec5-b31f-567e6dfd4487"/>
</p:tagLst>
</file>

<file path=ppt/tags/tag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2gsAAAAAAAAAAAAAIAD///////////////8AAAD///////////////8DAAAAAgD///////8DAAAAAgD///////8DAAAAAgD///////8DAAAAAgD///////////////////////////////////////////////////////////////////////////////////////////////////////////////////////////////////////////////////////////////////////////////////////////////////////////////////////////////////////////////////////////////////////////////////////////////////////////////////////////////////////////////////////////////////////////////////////////////////////////////////////////////////////////////////////////////8BACAA////////////////AAAO////////AwAAAAQA////////////////////////////////////////////////////////////////////////////////////////////////////////////////////////////////////////////////////////////////////////////////////////////////////////////////////////////////////////////////////////////////////////////////////////////////////////////////////////////////////////////////////////////////////////////////////////////////////////////////////////////////////////////////////////////////////////////////////////////////////////////////////////AgAEAP///////wUAAAACABAAC1Z84kUcD1FJscdqSqGys+QEAAAAAAADAAAAAAADAAAAAwADAAAAAAADAAAAAwADAAAAAAD///////8DAAAAAAD///////8DAAIA////////BQAAAAMAEAALan6G20rsfkKdX0OGM8o9qgQAAAABAAMAAAACAAMAAAAEAAMAAAACAAMAAAAEAAQAAgD///////8FAAAABAAQAAsBIEr8y2FLRq1jcALjI0VC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nziRRwPUUmxx2pKobKz5AREYXRhAAUAAAAAAk5hbWUADQAAAExpbmtEYXRhTGlzdAAQVmVyc2lvbgABAAAACUxhc3RXcml0ZQCbWBjpjwEAAAABAP////9hAGEAAAAFX2lkABAAAAAEan6G20rsfkKdX0OGM8o9qgREYXRhAAUAAAAAAk5hbWUADQAAAExpbmtEYXRhTGlzdAAQVmVyc2lvbgAAAAAACUxhc3RXcml0ZQCaWBjpjwEAAAACAP////9wAHAAAAAFX2lkABAAAAAEASBK/MthS0atY3AC4yNFQgNEYXRhABYAAAACUGVyc29uYWxJZAABAAAAAAACTmFtZQALAAAAUGVyc29uYWxJZAAQVmVyc2lvbgAAAAAACUxhc3RXcml0ZQCtWB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CAP///////wUAAAACAP///////wUAAAAEAP///////////////////////////////////////////////////////////////////////////////////////////////////////////////////////////////////////////////////////////////////////////////////////////////////////////////////////////////////////////////////////////////////////////////////////////////////////////////////////////////////////////////////////////////////////////////////////////////////////////////////////////////////////////////wEAIAH///////////////8AAA7///////8FAAAABAD///////////////////////////////////////////////////////////////////////////////////////////////////////////////////////////////////////////////////////////////////////////////////////////////////////////////////////////////////////////////////////////////////////////////////////////////////////////////////////////////////////////////////////////////////////////////////////////////////////////////////////////////////////////////////////////////////////////////////////////////////////////////////////8CAAQBAwAAAAIA////////DgAGTGlua0RhdGFMaXN0XzEEAAAAAAAFAAAAAwAFAAAABAAFAAAAAwAFAAAABAAFAAAAAAAFAAAABAAFAAAAAAAFAAAABAADAAIBAwAAAAMA////////DgAGTGlua0RhdGFMaXN0XzAEAAAAAQAFAAAAAAAFAAAAAgAFAAAAAAAFAAAAAgAEAAUBAwAAAAQA////////DAAGUGVyc29uYWxJZF8wBAAAAAIABQAAAAIABQAAAAE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80162255"/>
  <p:tag name="EMPOWERCHARTSPROPERTIES_B_LENGTH" val="24576"/>
  <p:tag name="DOWN_MIGRATION_INITIAL_LAYOUT_REQUIRED" val="9.2.99"/>
  <p:tag name="RUNTIME_ID" val="0e81ba41-60da-48cd-b6b0-16975ba92e02"/>
</p:tagLst>
</file>

<file path=ppt/tags/tag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MA////////////////////////////////////////////////////////////////////////////////////////////////////////////////////////////////////////////////////////////////////////////////////////////////////////////////////////////////////////////////////////////////////////////////////////////////////////////////////////////////////////////////////////////////////////////////////////////////////////////////////////////////////////////////////////////////////////////////////////////////////////////////////////AgAEAP///////wUAAAACABAAC5z17xRjc/tBlXdT6EJxBCIEAAAAAAADAAAAAAADAAAABAADAAAAAAADAAAAAwADAAAAAAD///////8DAAAAAAD///////8DAAIA////////BQAAAAMAEAALKywfqCvqQ0ipLyt8/oycPgQAAAABAAMAAAAEAAMAAAABAAMAAAACAP///////wQAAQD///////8FAAAABAAQAAu2b1dqcWDvSJPh4RpQLI0Q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PXvFGNz+0GVd1PoQnEEIgREYXRhAAUAAAAAAk5hbWUADQAAAExpbmtEYXRhTGlzdAAQVmVyc2lvbgABAAAACUxhc3RXcml0ZQAhXRjpjwEAAAABAP////9hAGEAAAAFX2lkABAAAAAEKywfqCvqQ0ipLyt8/oycPgREYXRhAAUAAAAAAk5hbWUADQAAAExpbmtEYXRhTGlzdAAQVmVyc2lvbgAAAAAACUxhc3RXcml0ZQAgXRjpjwEAAAACAP////9wAHAAAAAFX2lkABAAAAAEtm9XanFg70iT4eEaUCyNEANEYXRhABYAAAACUGVyc29uYWxJZAABAAAAAAACTmFtZQALAAAAUGVyc29uYWxJZAAQVmVyc2lvbgAAAAAACUxhc3RXcml0ZQA1XR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91763162"/>
  <p:tag name="EMPOWERCHARTSPROPERTIES_B_LENGTH" val="24576"/>
  <p:tag name="DOWN_MIGRATION_INITIAL_LAYOUT_REQUIRED" val="9.2.99"/>
  <p:tag name="RUNTIME_ID" val="12ad72bd-3db1-4568-b205-f543df5fc1f7"/>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tCWelROtCg9auGjn8i/IEAAAAAAADAAAABAADAAAAAwADAAIA////////BQAAAAMAEAAL8s9BmaO4DE2zvUnDCXUoqwQAAAABAAMAAAACAAMAAAABAAMAAAAAAP///////wQAAQD///////8FAAAABAAQAAsqghAj2qGETpacvT6oP6Vn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0JZ6VE60KD1q4aOfyL8gREYXRhAAUAAAAAAk5hbWUADQAAAExpbmtEYXRhTGlzdAAQVmVyc2lvbgABAAAACUxhc3RXcml0ZQCZVhjpjwEAAAABAP////9hAGEAAAAFX2lkABAAAAAE8s9BmaO4DE2zvUnDCXUoqwREYXRhAAUAAAAAAk5hbWUADQAAAExpbmtEYXRhTGlzdAAQVmVyc2lvbgAAAAAACUxhc3RXcml0ZQCYVhjpjwEAAAACAP////9wAHAAAAAFX2lkABAAAAAEKoIQI9qhhE6WnL0+qD+lZwNEYXRhABYAAAACUGVyc29uYWxJZAABAAAAAAACTmFtZQALAAAAUGVyc29uYWxJZAAQVmVyc2lvbgAAAAAACUxhc3RXcml0ZQC1Vh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EBAwAAAAIA////////DgAGTGlua0RhdGFMaXN0XzEEAAAAAAAFAAAAAwAFAAAABAADAAIBAwAAAAMA////////DgAGTGlua0RhdGFMaXN0XzAEAAAAAQAFAAAAAAAFAAAAAgAFAAAAAAAFAAAABAAEAAIBAwAAAAQA////////DAAGUGVyc29uYWxJZF8wBAAAAAIABQAAAAI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75086272"/>
  <p:tag name="EMPOWERCHARTSPROPERTIES_B_LENGTH" val="24576"/>
  <p:tag name="DOWN_MIGRATION_INITIAL_LAYOUT_REQUIRED" val="9.2.99"/>
  <p:tag name="RUNTIME_ID" val="aa6c2d96-72af-4c8e-af4a-191778784e7a"/>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qgsAAAAAAAAAAAAAIAD///////////////8AAAD///////////////8DAAAAAgD///////8DAAAAAgD///////8DAAAAAgD///////8DAAAAAgD///////8DAAAAAgD///////////////////////////////////////////////////////////////////////////////////////////////////////////////////////////////////////////////////////////////////////////////////////////////////////////////////////////////////////////////////////////////////////////////////////////////////////////////////////////////////////////////////////////////////////////////////////////////////////////////////////////////////////////////8BACAA////////////////AAAO////////AwAAAAMA////////////////////////////////////////////////////////////////////////////////////////////////////////////////////////////////////////////////////////////////////////////////////////////////////////////////////////////////////////////////////////////////////////////////////////////////////////////////////////////////////////////////////////////////////////////////////////////////////////////////////////////////////////////////////////////////////////////////////////////////////////////////////////AgAFAP///////wUAAAACABAACz0D/BGjgtZBrc9F5WV7CbgEAAAAAAADAAAAAAADAAAABAADAAAAAAADAAAABAADAAAAAAADAAAABAADAAAAAAADAAAABAADAAAAAAADAAAABAADAAIA////////BQAAAAMAEAAL3owDc9KaDEeo1FGWjeOz2QQAAAABAAMAAAAEAAMAAAABAAMAAAAEAP///////wQABQD///////8FAAAABAAQAAtDOfsipHAmQJOKGK/9bU+xBAAAAAIAAwAAAAIAAwAAAAMAAwAAAAIAAwAAAAMAAwAAAAI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P8EaOC1kGtz0XlZXsJuAREYXRhAAUAAAAAAk5hbWUADQAAAExpbmtEYXRhTGlzdAAQVmVyc2lvbgAAAAAACUxhc3RXcml0ZQBzUBjpjwEAAAABAP////9hAGEAAAAFX2lkABAAAAAE3owDc9KaDEeo1FGWjeOz2QREYXRhAAUAAAAAAk5hbWUADQAAAExpbmtEYXRhTGlzdAAQVmVyc2lvbgABAAAACUxhc3RXcml0ZQBzUBjpjwEAAAACAP////9wAHAAAAAFX2lkABAAAAAEQzn7IqRwJkCTihiv/W1PsQNEYXRhABYAAAACUGVyc29uYWxJZAABAAAAAAACTmFtZQALAAAAUGVyc29uYWxJZAAQVmVyc2lvbgAAAAAACUxhc3RXcml0ZQCHUBjp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CAP///////wUAAAACAP///////wUAAAACAP///////////////////////////////////////////////////////////////////////////////////////////////////////////////////////////////////////////////////////////////////////////////////////////////////////////////////////////////////////////////////////////////////////////////////////////////////////////////////////////////////////////////////////////////////////////////////////////////////////////////////////////////////////////////wEAIAH///////////////8AAA7///////8FAAAABAD///////////////////////////////////////////////////////////////////////////////////////////////////////////////////////////////////////////////////////////////////////////////////////////////////////////////////////////////////////////////////////////////////////////////////////////////////////////////////////////////////////////////////////////////////////////////////////////////////////////////////////////////////////////////////////////////////////////////////////////////////////////////////////8CAAUBAwAAAAIA////////DgAGTGlua0RhdGFMaXN0XzAEAAAAAAAFAAAAAAAFAAAAAwAFAAAAAAAFAAAAAwAFAAAAAAD///////8FAAAAAAD///////8FAAAAAAD///////8DAAIBAwAAAAMA////////DgAGTGlua0RhdGFMaXN0XzEEAAAAAQAFAAAAAgAFAAAABAAFAAAAAg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31994359270649"/>
  <p:tag name="EMPOWERCHARTSPROPERTIES_B_LENGTH" val="24576"/>
  <p:tag name="DOWN_MIGRATION_INITIAL_LAYOUT_REQUIRED" val="9.2.99"/>
  <p:tag name="RUNTIME_ID" val="8767d27b-f9af-4f40-8b9a-94b0f6f11a58"/>
</p:tagLst>
</file>

<file path=ppt/theme/theme1.xml><?xml version="1.0" encoding="utf-8"?>
<a:theme xmlns:a="http://schemas.openxmlformats.org/drawingml/2006/main" name="Software AG">
  <a:themeElements>
    <a:clrScheme name="Custom 5">
      <a:dk1>
        <a:srgbClr val="000000"/>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FFFFFF"/>
      </a:accent6>
      <a:hlink>
        <a:srgbClr val="011F3D"/>
      </a:hlink>
      <a:folHlink>
        <a:srgbClr val="9A50F8"/>
      </a:folHlink>
    </a:clrScheme>
    <a:fontScheme name="SAG">
      <a:majorFont>
        <a:latin typeface="Rubik Medium"/>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defRPr sz="14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ln w="6350">
          <a:noFill/>
        </a:ln>
      </a:spPr>
      <a:bodyPr vert="horz" lIns="0" tIns="0" rIns="0" bIns="0" rtlCol="0">
        <a:noAutofit/>
      </a:bodyPr>
      <a:lstStyle>
        <a:defPPr algn="l">
          <a:defRPr dirty="0" err="1" smtClean="0"/>
        </a:defPPr>
      </a:lstStyle>
    </a:txDef>
  </a:objectDefaults>
  <a:extraClrSchemeLst/>
  <a:custClrLst>
    <a:custClr name="white">
      <a:srgbClr val="FFFFFF"/>
    </a:custClr>
    <a:custClr name="white">
      <a:srgbClr val="FFFFFF"/>
    </a:custClr>
    <a:custClr name="white">
      <a:srgbClr val="FFFFFF"/>
    </a:custClr>
    <a:custClr name="Core dark 75%">
      <a:srgbClr val="41576E"/>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Core dark 55%">
      <a:srgbClr val="82A2AD"/>
    </a:custClr>
    <a:custClr name="Bright pulse 55%">
      <a:srgbClr val="C89FFB"/>
    </a:custClr>
    <a:custClr name="Bright sense 55%">
      <a:srgbClr val="94DDD7"/>
    </a:custClr>
    <a:custClr name="Bright life 55%">
      <a:srgbClr val="EAF588"/>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Core dark 35%">
      <a:srgbClr val="B0C4CB"/>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Core dark 15%">
      <a:srgbClr val="DDE6E9"/>
    </a:custClr>
    <a:custClr name="Bright pulse 15%">
      <a:srgbClr val="F0E5FE"/>
    </a:custClr>
    <a:custClr name="Bright sense 15%">
      <a:srgbClr val="E2F6F4"/>
    </a:custClr>
    <a:custClr name="Bright life 15%">
      <a:srgbClr val="F9FCDF"/>
    </a:custClr>
  </a:custClrLst>
  <a:extLst>
    <a:ext uri="{05A4C25C-085E-4340-85A3-A5531E510DB2}">
      <thm15:themeFamily xmlns:thm15="http://schemas.microsoft.com/office/thememl/2012/main" name="SoftwareAG_Master_2020-06.potx" id="{D9D62154-4ABE-4631-9C3F-947CF67E2270}" vid="{7D78DB48-E41A-4133-8FE6-57939E572449}"/>
    </a:ext>
  </a:extLst>
</a:theme>
</file>

<file path=ppt/theme/theme2.xml><?xml version="1.0" encoding="utf-8"?>
<a:theme xmlns:a="http://schemas.openxmlformats.org/drawingml/2006/main" name="Office Theme">
  <a:themeElements>
    <a:clrScheme name="SAG">
      <a:dk1>
        <a:srgbClr val="011F3D"/>
      </a:dk1>
      <a:lt1>
        <a:srgbClr val="F2F2EA"/>
      </a:lt1>
      <a:dk2>
        <a:srgbClr val="000000"/>
      </a:dk2>
      <a:lt2>
        <a:srgbClr val="FFFFFF"/>
      </a:lt2>
      <a:accent1>
        <a:srgbClr val="9A50F8"/>
      </a:accent1>
      <a:accent2>
        <a:srgbClr val="3CC1B7"/>
      </a:accent2>
      <a:accent3>
        <a:srgbClr val="D9EC27"/>
      </a:accent3>
      <a:accent4>
        <a:srgbClr val="3B2C5E"/>
      </a:accent4>
      <a:accent5>
        <a:srgbClr val="1C5569"/>
      </a:accent5>
      <a:accent6>
        <a:srgbClr val="FFFFFF"/>
      </a:accent6>
      <a:hlink>
        <a:srgbClr val="0563C1"/>
      </a:hlink>
      <a:folHlink>
        <a:srgbClr val="954F72"/>
      </a:folHlink>
    </a:clrScheme>
    <a:fontScheme name="SAG">
      <a:majorFont>
        <a:latin typeface="Rubik Medium"/>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AG">
      <a:dk1>
        <a:srgbClr val="011F3D"/>
      </a:dk1>
      <a:lt1>
        <a:srgbClr val="F2F2EA"/>
      </a:lt1>
      <a:dk2>
        <a:srgbClr val="000000"/>
      </a:dk2>
      <a:lt2>
        <a:srgbClr val="FFFFFF"/>
      </a:lt2>
      <a:accent1>
        <a:srgbClr val="9A50F8"/>
      </a:accent1>
      <a:accent2>
        <a:srgbClr val="3CC1B7"/>
      </a:accent2>
      <a:accent3>
        <a:srgbClr val="D9EC27"/>
      </a:accent3>
      <a:accent4>
        <a:srgbClr val="3B2C5E"/>
      </a:accent4>
      <a:accent5>
        <a:srgbClr val="1C5569"/>
      </a:accent5>
      <a:accent6>
        <a:srgbClr val="FFFFFF"/>
      </a:accent6>
      <a:hlink>
        <a:srgbClr val="0563C1"/>
      </a:hlink>
      <a:folHlink>
        <a:srgbClr val="954F72"/>
      </a:folHlink>
    </a:clrScheme>
    <a:fontScheme name="SAG">
      <a:majorFont>
        <a:latin typeface="Rubik Medium"/>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10.xml><?xml version="1.0" encoding="utf-8"?>
<qs:outline xmlns:qs="urn:strategyCompass:quickSlide:basic:outline:2014">
  <qs:settings>
    <qs:designID>QuickSlideAgenda1</qs:designID>
    <qs:numberingChecked>True</qs:numberingChecked>
    <qs:subNumberingChecked>True</qs:subNumberingChecked>
    <qs:pagesNumberChecked>True</qs:pagesNumberChecked>
    <qs:topicsChecked>True</qs:topicsChecked>
    <qs:subtopicsChecked>True</qs:subtopicsChecked>
    <qs:extratopicsChecked>False</qs:extratopicsChecked>
    <qs:overviewChecked>True</qs:overviewChecked>
    <qs:chapterNumberOnSlidesChecked>False</qs:chapterNumberOnSlidesChecked>
    <qs:chapterNameOnSlidesChecked>False</qs:chapterNameOnSlidesChecked>
    <qs:autoUpdateChecked>False</qs:autoUpdateChecked>
    <qs:subChaptersOnlyOnActiveChapter>True</qs:subChaptersOnlyOnActiveChapter>
    <qs:separatorOnlyActiveChapterChecked>False</qs:separatorOnlyActiveChapterChecked>
    <qs:overviewWithSubchaptersChecked>False</qs:overviewWithSubchaptersChecked>
    <qs:sectionsChecked>False</qs:sectionsChecked>
    <qs:navigationChecked>False</qs:navigationChecked>
    <qs:navigationSubChecked>False</qs:navigationSubChecked>
    <qs:linkChecked>False</qs:linkChecked>
  </qs:settings>
  <qs:title>Inhaltsverzeichnis</qs:title>
  <qs:overviewpage>279</qs:overviewpage>
  <qs:chapter>
    <qs:id>280</qs:id>
    <qs:pageNr>5</qs:pageNr>
    <qs:slideIndex>7</qs:slideIndex>
    <qs:title>[Topic 1]</qs:title>
    <qs:navText/>
    <qs:number>1</qs:number>
    <qs:position>1</qs:position>
    <qs:level>0</qs:level>
  </qs:chapter>
  <qs:chapter>
    <qs:id>281</qs:id>
    <qs:pageNr>6</qs:pageNr>
    <qs:slideIndex>8</qs:slideIndex>
    <qs:title>[Topic 2]</qs:title>
    <qs:navText/>
    <qs:number>2</qs:number>
    <qs:position>2</qs:position>
    <qs:level>0</qs:level>
  </qs:chapter>
</qs:outline>
</file>

<file path=customXml/item11.xml><?xml version="1.0" encoding="utf-8"?>
<p:properties xmlns:p="http://schemas.microsoft.com/office/2006/metadata/properties" xmlns:xsi="http://www.w3.org/2001/XMLSchema-instance" xmlns:pc="http://schemas.microsoft.com/office/infopath/2007/PartnerControls">
  <documentManagement/>
</p:properties>
</file>

<file path=customXml/item12.xml><?xml version="1.0" encoding="utf-8"?>
<ct:contentTypeSchema xmlns:ct="http://schemas.microsoft.com/office/2006/metadata/contentType" xmlns:ma="http://schemas.microsoft.com/office/2006/metadata/properties/metaAttributes" ct:_="" ma:_="" ma:contentTypeName="Document" ma:contentTypeID="0x01010064DD900431D15F4E99A9FDBFF65DDA2E" ma:contentTypeVersion="25" ma:contentTypeDescription="Create a new document." ma:contentTypeScope="" ma:versionID="f617fdab68b44380b3fc16be84716ecb">
  <xsd:schema xmlns:xsd="http://www.w3.org/2001/XMLSchema" xmlns:xs="http://www.w3.org/2001/XMLSchema" xmlns:p="http://schemas.microsoft.com/office/2006/metadata/properties" xmlns:ns2="1524800f-f219-4acd-9128-b2e1848592a2" xmlns:ns3="e8fd9900-19b7-4671-8b90-8bf91cdcdf14" targetNamespace="http://schemas.microsoft.com/office/2006/metadata/properties" ma:root="true" ma:fieldsID="705487cb90d5fbad624a54db3e8dc1a1" ns2:_="" ns3:_="">
    <xsd:import namespace="1524800f-f219-4acd-9128-b2e1848592a2"/>
    <xsd:import namespace="e8fd9900-19b7-4671-8b90-8bf91cdcdf1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Description" minOccurs="0"/>
                <xsd:element ref="ns2:MediaServiceAutoTags" minOccurs="0"/>
                <xsd:element ref="ns2:MediaServiceOCR" minOccurs="0"/>
                <xsd:element ref="ns2:MediaServiceGenerationTime" minOccurs="0"/>
                <xsd:element ref="ns2:MediaServiceEventHashCode" minOccurs="0"/>
                <xsd:element ref="ns2:Mod" minOccurs="0"/>
                <xsd:element ref="ns2:MediaLengthInSeconds" minOccurs="0"/>
                <xsd:element ref="ns2:_Flow_SignoffStatus" minOccurs="0"/>
                <xsd:element ref="ns2:lcf76f155ced4ddcb4097134ff3c332f" minOccurs="0"/>
                <xsd:element ref="ns3:TaxCatchAll" minOccurs="0"/>
                <xsd:element ref="ns2:Updatedonsite" minOccurs="0"/>
                <xsd:element ref="ns2:MediaServiceObjectDetectorVersions" minOccurs="0"/>
                <xsd:element ref="ns2:Senttolegalreview" minOccurs="0"/>
                <xsd:element ref="ns2:ApprovedbyLeagal" minOccurs="0"/>
                <xsd:element ref="ns2:Comment"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24800f-f219-4acd-9128-b2e1848592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Description" ma:index="15" nillable="true" ma:displayName="Description" ma:format="Dropdown" ma:internalName="Description">
      <xsd:simpleType>
        <xsd:restriction base="dms:Choice">
          <xsd:enumeration value="Sales Play"/>
          <xsd:enumeration value="Service Description"/>
          <xsd:enumeration value="Offer Detail"/>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od" ma:index="20" nillable="true" ma:displayName="Mod" ma:format="Dropdown" ma:internalName="Mod">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Flow_SignoffStatus" ma:index="22" nillable="true" ma:displayName="Sign-off status" ma:internalName="Sign_x002d_off_x0020_status">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c46c2a7b-827f-4770-b8d7-723d5daf04a2" ma:termSetId="09814cd3-568e-fe90-9814-8d621ff8fb84" ma:anchorId="fba54fb3-c3e1-fe81-a776-ca4b69148c4d" ma:open="true" ma:isKeyword="false">
      <xsd:complexType>
        <xsd:sequence>
          <xsd:element ref="pc:Terms" minOccurs="0" maxOccurs="1"/>
        </xsd:sequence>
      </xsd:complexType>
    </xsd:element>
    <xsd:element name="Updatedonsite" ma:index="26" nillable="true" ma:displayName="Updated on site" ma:format="Dropdown" ma:internalName="Updatedonsite">
      <xsd:simpleType>
        <xsd:restriction base="dms:Choice">
          <xsd:enumeration value="Published"/>
          <xsd:enumeration value="In progress "/>
          <xsd:enumeration value="Not started"/>
        </xsd:restriction>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Senttolegalreview" ma:index="28" nillable="true" ma:displayName="Sent to legal review" ma:format="DateOnly" ma:internalName="Senttolegalreview">
      <xsd:simpleType>
        <xsd:restriction base="dms:DateTime"/>
      </xsd:simpleType>
    </xsd:element>
    <xsd:element name="ApprovedbyLeagal" ma:index="29" nillable="true" ma:displayName="Approved by Leagal" ma:format="DateOnly" ma:internalName="ApprovedbyLeagal">
      <xsd:simpleType>
        <xsd:restriction base="dms:DateTime"/>
      </xsd:simpleType>
    </xsd:element>
    <xsd:element name="Comment" ma:index="30" nillable="true" ma:displayName="Comment" ma:format="Dropdown" ma:internalName="Comment">
      <xsd:simpleType>
        <xsd:restriction base="dms:Note">
          <xsd:maxLength value="255"/>
        </xsd:restriction>
      </xsd:simpleType>
    </xsd:element>
    <xsd:element name="MediaServiceSearchProperties" ma:index="31" nillable="true" ma:displayName="MediaServiceSearchProperties" ma:hidden="true" ma:internalName="MediaServiceSearchProperties" ma:readOnly="true">
      <xsd:simpleType>
        <xsd:restriction base="dms:Note"/>
      </xsd:simpleType>
    </xsd:element>
    <xsd:element name="MediaServiceLocation" ma:index="3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fd9900-19b7-4671-8b90-8bf91cdcdf1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418554a0-d8f8-42b5-abcd-2d21c3629fc5}" ma:internalName="TaxCatchAll" ma:showField="CatchAllData" ma:web="e8fd9900-19b7-4671-8b90-8bf91cdcdf1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mso-contentType ?>
<FormTemplates xmlns="http://schemas.microsoft.com/sharepoint/v3/contenttype/forms">
  <Display>DocumentLibraryForm</Display>
  <Edit>DocumentLibraryForm</Edit>
  <New>DocumentLibraryForm</New>
</FormTemplates>
</file>

<file path=customXml/item14.xml><?xml version="1.0" encoding="utf-8"?>
<p:properties xmlns:p="http://schemas.microsoft.com/office/2006/metadata/properties" xmlns:xsi="http://www.w3.org/2001/XMLSchema-instance" xmlns:pc="http://schemas.microsoft.com/office/infopath/2007/PartnerControls">
  <documentManagement>
    <Comment xmlns="1524800f-f219-4acd-9128-b2e1848592a2" xsi:nil="true"/>
    <Updatedonsite xmlns="1524800f-f219-4acd-9128-b2e1848592a2" xsi:nil="true"/>
    <Senttolegalreview xmlns="1524800f-f219-4acd-9128-b2e1848592a2" xsi:nil="true"/>
    <_Flow_SignoffStatus xmlns="1524800f-f219-4acd-9128-b2e1848592a2" xsi:nil="true"/>
    <Description xmlns="1524800f-f219-4acd-9128-b2e1848592a2" xsi:nil="true"/>
    <lcf76f155ced4ddcb4097134ff3c332f xmlns="1524800f-f219-4acd-9128-b2e1848592a2">
      <Terms xmlns="http://schemas.microsoft.com/office/infopath/2007/PartnerControls"/>
    </lcf76f155ced4ddcb4097134ff3c332f>
    <TaxCatchAll xmlns="e8fd9900-19b7-4671-8b90-8bf91cdcdf14" xsi:nil="true"/>
    <ApprovedbyLeagal xmlns="1524800f-f219-4acd-9128-b2e1848592a2" xsi:nil="true"/>
    <Mod xmlns="1524800f-f219-4acd-9128-b2e1848592a2" xsi:nil="true"/>
  </documentManagement>
</p:properti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p:properties xmlns:p="http://schemas.microsoft.com/office/2006/metadata/properties" xmlns:xsi="http://www.w3.org/2001/XMLSchema-instance" xmlns:pc="http://schemas.microsoft.com/office/infopath/2007/PartnerControls">
  <documentManagement>
    <Mod xmlns="1524800f-f219-4acd-9128-b2e1848592a2" xsi:nil="true"/>
    <lcf76f155ced4ddcb4097134ff3c332f xmlns="1524800f-f219-4acd-9128-b2e1848592a2">
      <Terms xmlns="http://schemas.microsoft.com/office/infopath/2007/PartnerControls"/>
    </lcf76f155ced4ddcb4097134ff3c332f>
    <Updatedonsite xmlns="1524800f-f219-4acd-9128-b2e1848592a2" xsi:nil="true"/>
    <Description xmlns="1524800f-f219-4acd-9128-b2e1848592a2" xsi:nil="true"/>
    <TaxCatchAll xmlns="e8fd9900-19b7-4671-8b90-8bf91cdcdf14" xsi:nil="true"/>
    <_Flow_SignoffStatus xmlns="1524800f-f219-4acd-9128-b2e1848592a2" xsi:nil="true"/>
  </documentManagement>
</p:properti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p:properties xmlns:p="http://schemas.microsoft.com/office/2006/metadata/properties" xmlns:xsi="http://www.w3.org/2001/XMLSchema-instance" xmlns:pc="http://schemas.microsoft.com/office/infopath/2007/PartnerControls">
  <documentManagement>
    <e26e7d862f0e49549a61d6751ca7dd75 xmlns="7c6d39ae-4139-4189-8972-8fbc9a5993d1">
      <Terms xmlns="http://schemas.microsoft.com/office/infopath/2007/PartnerControls">
        <TermInfo xmlns="http://schemas.microsoft.com/office/infopath/2007/PartnerControls">
          <TermName xmlns="http://schemas.microsoft.com/office/infopath/2007/PartnerControls">PRIME Asset</TermName>
          <TermId xmlns="http://schemas.microsoft.com/office/infopath/2007/PartnerControls">8273f19c-1d4c-41d5-82e6-b33a8a66095c</TermId>
        </TermInfo>
      </Terms>
    </e26e7d862f0e49549a61d6751ca7dd75>
    <AssetDocumentType xmlns="7c6d39ae-4139-4189-8972-8fbc9a5993d1">MS_PPT</AssetDocumentType>
    <TaxCatchAll xmlns="7c6d39ae-4139-4189-8972-8fbc9a5993d1">
      <Value>5</Value>
      <Value>18</Value>
      <Value>45</Value>
      <Value>75</Value>
      <Value>8</Value>
    </TaxCatchAll>
    <g9e395fc1329479d97626cb73b32dfc4 xmlns="7c6d39ae-4139-4189-8972-8fbc9a5993d1">
      <Terms xmlns="http://schemas.microsoft.com/office/infopath/2007/PartnerControls">
        <TermInfo xmlns="http://schemas.microsoft.com/office/infopath/2007/PartnerControls">
          <TermName xmlns="http://schemas.microsoft.com/office/infopath/2007/PartnerControls">Internal Use Only</TermName>
          <TermId xmlns="http://schemas.microsoft.com/office/infopath/2007/PartnerControls">b001c19c-f682-46ac-a956-5c67379ca356</TermId>
        </TermInfo>
      </Terms>
    </g9e395fc1329479d97626cb73b32dfc4>
    <j9ca2f782dff450e83997a6d5693238c xmlns="7c6d39ae-4139-4189-8972-8fbc9a5993d1">
      <Terms xmlns="http://schemas.microsoft.com/office/infopath/2007/PartnerControls">
        <TermInfo xmlns="http://schemas.microsoft.com/office/infopath/2007/PartnerControls">
          <TermName xmlns="http://schemas.microsoft.com/office/infopath/2007/PartnerControls">API Management</TermName>
          <TermId xmlns="http://schemas.microsoft.com/office/infopath/2007/PartnerControls">ecb5ce6e-c3f8-4cd0-bb4c-f17bcf4a202c</TermId>
        </TermInfo>
        <TermInfo xmlns="http://schemas.microsoft.com/office/infopath/2007/PartnerControls">
          <TermName xmlns="http://schemas.microsoft.com/office/infopath/2007/PartnerControls">API, Integration ＆ Microservices</TermName>
          <TermId xmlns="http://schemas.microsoft.com/office/infopath/2007/PartnerControls">16c2fd86-5118-447b-8ab5-1b64e9fbe4a4</TermId>
        </TermInfo>
      </Terms>
    </j9ca2f782dff450e83997a6d5693238c>
    <l43cd68997b24a5ca156eea310f72bf7 xmlns="7c6d39ae-4139-4189-8972-8fbc9a5993d1">
      <Terms xmlns="http://schemas.microsoft.com/office/infopath/2007/PartnerControls"/>
    </l43cd68997b24a5ca156eea310f72bf7>
    <a0883ab597284d088754ea60763ad9d0 xmlns="7c6d39ae-4139-4189-8972-8fbc9a5993d1">
      <Terms xmlns="http://schemas.microsoft.com/office/infopath/2007/PartnerControls"/>
    </a0883ab597284d088754ea60763ad9d0>
    <ccfabfdd92854d349134029da8d2e0d7 xmlns="7c6d39ae-4139-4189-8972-8fbc9a5993d1">
      <Terms xmlns="http://schemas.microsoft.com/office/infopath/2007/PartnerControls"/>
    </ccfabfdd92854d349134029da8d2e0d7>
    <f25068181d6c4bf3956e656527eda969 xmlns="7c6d39ae-4139-4189-8972-8fbc9a5993d1">
      <Terms xmlns="http://schemas.microsoft.com/office/infopath/2007/PartnerControls"/>
    </f25068181d6c4bf3956e656527eda969>
    <a999417c70ed4b8c889fc7e4495a3c7a xmlns="7c6d39ae-4139-4189-8972-8fbc9a5993d1">
      <Terms xmlns="http://schemas.microsoft.com/office/infopath/2007/PartnerControls"/>
    </a999417c70ed4b8c889fc7e4495a3c7a>
    <AssetOwner xmlns="7c6d39ae-4139-4189-8972-8fbc9a5993d1">
      <UserInfo>
        <DisplayName/>
        <AccountId xsi:nil="true"/>
        <AccountType/>
      </UserInfo>
    </AssetOwner>
    <_ExtendedDescription xmlns="http://schemas.microsoft.com/sharepoint/v3">The API Gateway Staging solution offers a flexible and extensible solution for propagating API Gateway assets (APIs, applications, aliases, global policies etc.) between stages and for configuring new API Gateway instances.</_ExtendedDescription>
    <ReleaseAsset xmlns="7c6d39ae-4139-4189-8972-8fbc9a5993d1">true</ReleaseAsset>
    <e2f775d9f0044128a2a883d560941456 xmlns="7c6d39ae-4139-4189-8972-8fbc9a5993d1">
      <Terms xmlns="http://schemas.microsoft.com/office/infopath/2007/PartnerControls">
        <TermInfo xmlns="http://schemas.microsoft.com/office/infopath/2007/PartnerControls">
          <TermName xmlns="http://schemas.microsoft.com/office/infopath/2007/PartnerControls">PRIME Guide</TermName>
          <TermId xmlns="http://schemas.microsoft.com/office/infopath/2007/PartnerControls">f7f61ef6-80cc-4b07-ade3-6d068c71cce6</TermId>
        </TermInfo>
      </Terms>
    </e2f775d9f0044128a2a883d560941456>
    <AssetRelease xmlns="730fe4af-3081-42da-89aa-c3df984b3fdd" xsi:nil="true"/>
  </documentManagement>
</p:properties>
</file>

<file path=customXml/item6.xml><?xml version="1.0" encoding="utf-8"?>
<p:properties xmlns:p="http://schemas.microsoft.com/office/2006/metadata/properties" xmlns:xsi="http://www.w3.org/2001/XMLSchema-instance" xmlns:pc="http://schemas.microsoft.com/office/infopath/2007/PartnerControls">
  <documentManagement/>
</p:properties>
</file>

<file path=customXml/item7.xml><?xml version="1.0" encoding="utf-8"?>
<p:properties xmlns:p="http://schemas.microsoft.com/office/2006/metadata/properties" xmlns:xsi="http://www.w3.org/2001/XMLSchema-instance" xmlns:pc="http://schemas.microsoft.com/office/infopath/2007/PartnerControls">
  <documentManagement>
    <Mod xmlns="1524800f-f219-4acd-9128-b2e1848592a2" xsi:nil="true"/>
    <Senttolegalreview xmlns="1524800f-f219-4acd-9128-b2e1848592a2" xsi:nil="true"/>
    <lcf76f155ced4ddcb4097134ff3c332f xmlns="1524800f-f219-4acd-9128-b2e1848592a2">
      <Terms xmlns="http://schemas.microsoft.com/office/infopath/2007/PartnerControls"/>
    </lcf76f155ced4ddcb4097134ff3c332f>
    <Updatedonsite xmlns="1524800f-f219-4acd-9128-b2e1848592a2" xsi:nil="true"/>
    <Comment xmlns="1524800f-f219-4acd-9128-b2e1848592a2" xsi:nil="true"/>
    <ApprovedbyLeagal xmlns="1524800f-f219-4acd-9128-b2e1848592a2" xsi:nil="true"/>
    <Description xmlns="1524800f-f219-4acd-9128-b2e1848592a2" xsi:nil="true"/>
    <TaxCatchAll xmlns="e8fd9900-19b7-4671-8b90-8bf91cdcdf14" xsi:nil="true"/>
    <_Flow_SignoffStatus xmlns="1524800f-f219-4acd-9128-b2e1848592a2" xsi:nil="true"/>
  </documentManagement>
</p:properties>
</file>

<file path=customXml/item8.xml><?xml version="1.0" encoding="utf-8"?>
<p:properties xmlns:p="http://schemas.microsoft.com/office/2006/metadata/properties" xmlns:xsi="http://www.w3.org/2001/XMLSchema-instance" xmlns:pc="http://schemas.microsoft.com/office/infopath/2007/PartnerControls">
  <documentManagement/>
</p:properties>
</file>

<file path=customXml/item9.xml><?xml version="1.0" encoding="utf-8"?>
<p:properties xmlns:p="http://schemas.microsoft.com/office/2006/metadata/properties" xmlns:xsi="http://www.w3.org/2001/XMLSchema-instance" xmlns:pc="http://schemas.microsoft.com/office/infopath/2007/PartnerControls">
  <documentManagement>
    <Mod xmlns="1524800f-f219-4acd-9128-b2e1848592a2" xsi:nil="true"/>
    <lcf76f155ced4ddcb4097134ff3c332f xmlns="1524800f-f219-4acd-9128-b2e1848592a2">
      <Terms xmlns="http://schemas.microsoft.com/office/infopath/2007/PartnerControls"/>
    </lcf76f155ced4ddcb4097134ff3c332f>
    <Updatedonsite xmlns="1524800f-f219-4acd-9128-b2e1848592a2" xsi:nil="true"/>
    <Description xmlns="1524800f-f219-4acd-9128-b2e1848592a2" xsi:nil="true"/>
    <TaxCatchAll xmlns="e8fd9900-19b7-4671-8b90-8bf91cdcdf14" xsi:nil="true"/>
    <_Flow_SignoffStatus xmlns="1524800f-f219-4acd-9128-b2e1848592a2" xsi:nil="true"/>
  </documentManagement>
</p:properties>
</file>

<file path=customXml/itemProps1.xml><?xml version="1.0" encoding="utf-8"?>
<ds:datastoreItem xmlns:ds="http://schemas.openxmlformats.org/officeDocument/2006/customXml" ds:itemID="{C6BBC175-6677-4902-B356-FBF62E57170F}">
  <ds:schemaRefs>
    <ds:schemaRef ds:uri="http://schemas.microsoft.com/office/2006/metadata/properties"/>
    <ds:schemaRef ds:uri="http://schemas.microsoft.com/office/infopath/2007/PartnerControls"/>
  </ds:schemaRefs>
</ds:datastoreItem>
</file>

<file path=customXml/itemProps10.xml><?xml version="1.0" encoding="utf-8"?>
<ds:datastoreItem xmlns:ds="http://schemas.openxmlformats.org/officeDocument/2006/customXml" ds:itemID="{2AFDED7D-4FFF-457E-9412-038DF37A02C4}">
  <ds:schemaRefs>
    <ds:schemaRef ds:uri="urn:strategyCompass:quickSlide:basic:outline:2014"/>
  </ds:schemaRefs>
</ds:datastoreItem>
</file>

<file path=customXml/itemProps11.xml><?xml version="1.0" encoding="utf-8"?>
<ds:datastoreItem xmlns:ds="http://schemas.openxmlformats.org/officeDocument/2006/customXml" ds:itemID="{F6BEFDF9-D696-4018-881D-259879E42231}">
  <ds:schemaRefs>
    <ds:schemaRef ds:uri="http://schemas.microsoft.com/office/2006/metadata/properties"/>
    <ds:schemaRef ds:uri="http://schemas.microsoft.com/office/infopath/2007/PartnerControls"/>
  </ds:schemaRefs>
</ds:datastoreItem>
</file>

<file path=customXml/itemProps12.xml><?xml version="1.0" encoding="utf-8"?>
<ds:datastoreItem xmlns:ds="http://schemas.openxmlformats.org/officeDocument/2006/customXml" ds:itemID="{D78A6585-7463-4A49-8C64-98C275FE0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24800f-f219-4acd-9128-b2e1848592a2"/>
    <ds:schemaRef ds:uri="e8fd9900-19b7-4671-8b90-8bf91cdcdf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EBFC0766-3FE5-4849-B479-E1E383E1286E}">
  <ds:schemaRefs>
    <ds:schemaRef ds:uri="http://schemas.microsoft.com/sharepoint/v3/contenttype/forms"/>
  </ds:schemaRefs>
</ds:datastoreItem>
</file>

<file path=customXml/itemProps14.xml><?xml version="1.0" encoding="utf-8"?>
<ds:datastoreItem xmlns:ds="http://schemas.openxmlformats.org/officeDocument/2006/customXml" ds:itemID="{4ACB0364-D44D-4F56-B9C0-74363DC64ED0}">
  <ds:schemaRefs>
    <ds:schemaRef ds:uri="http://schemas.microsoft.com/office/2006/metadata/properties"/>
    <ds:schemaRef ds:uri="http://schemas.microsoft.com/office/infopath/2007/PartnerControls"/>
    <ds:schemaRef ds:uri="1524800f-f219-4acd-9128-b2e1848592a2"/>
    <ds:schemaRef ds:uri="e8fd9900-19b7-4671-8b90-8bf91cdcdf14"/>
  </ds:schemaRefs>
</ds:datastoreItem>
</file>

<file path=customXml/itemProps2.xml><?xml version="1.0" encoding="utf-8"?>
<ds:datastoreItem xmlns:ds="http://schemas.openxmlformats.org/officeDocument/2006/customXml" ds:itemID="{A502A30A-72BE-4CBD-9A10-BD8350C80A1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C5AE435-4113-48CF-B63E-F7EA95496B2D}">
  <ds:schemaRefs>
    <ds:schemaRef ds:uri="http://schemas.microsoft.com/office/2006/metadata/properties"/>
    <ds:schemaRef ds:uri="http://schemas.microsoft.com/office/infopath/2007/PartnerControls"/>
    <ds:schemaRef ds:uri="1524800f-f219-4acd-9128-b2e1848592a2"/>
    <ds:schemaRef ds:uri="e8fd9900-19b7-4671-8b90-8bf91cdcdf14"/>
  </ds:schemaRefs>
</ds:datastoreItem>
</file>

<file path=customXml/itemProps4.xml><?xml version="1.0" encoding="utf-8"?>
<ds:datastoreItem xmlns:ds="http://schemas.openxmlformats.org/officeDocument/2006/customXml" ds:itemID="{F15F73CC-6E48-4730-9D92-A5931E7E8028}">
  <ds:schemaRefs>
    <ds:schemaRef ds:uri="http://www.w3.org/XML/1998/namespace"/>
    <ds:schemaRef ds:uri="http://schemas.openxmlformats.org/package/2006/metadata/core-properties"/>
    <ds:schemaRef ds:uri="http://schemas.microsoft.com/office/infopath/2007/PartnerControls"/>
    <ds:schemaRef ds:uri="http://purl.org/dc/dcmitype/"/>
    <ds:schemaRef ds:uri="7c6d39ae-4139-4189-8972-8fbc9a5993d1"/>
    <ds:schemaRef ds:uri="730fe4af-3081-42da-89aa-c3df984b3fdd"/>
    <ds:schemaRef ds:uri="http://schemas.microsoft.com/office/2006/metadata/properties"/>
    <ds:schemaRef ds:uri="http://schemas.microsoft.com/office/2006/documentManagement/types"/>
    <ds:schemaRef ds:uri="http://schemas.microsoft.com/sharepoint/v3"/>
    <ds:schemaRef ds:uri="http://purl.org/dc/terms/"/>
    <ds:schemaRef ds:uri="http://purl.org/dc/elements/1.1/"/>
  </ds:schemaRefs>
</ds:datastoreItem>
</file>

<file path=customXml/itemProps5.xml><?xml version="1.0" encoding="utf-8"?>
<ds:datastoreItem xmlns:ds="http://schemas.openxmlformats.org/officeDocument/2006/customXml" ds:itemID="{D460B8D8-129D-4863-BAA2-688F4E3FA4E4}">
  <ds:schemaRefs>
    <ds:schemaRef ds:uri="http://schemas.microsoft.com/office/2006/metadata/properties"/>
    <ds:schemaRef ds:uri="http://schemas.microsoft.com/office/infopath/2007/PartnerControls"/>
    <ds:schemaRef ds:uri="7c6d39ae-4139-4189-8972-8fbc9a5993d1"/>
    <ds:schemaRef ds:uri="http://schemas.microsoft.com/sharepoint/v3"/>
    <ds:schemaRef ds:uri="730fe4af-3081-42da-89aa-c3df984b3fdd"/>
  </ds:schemaRefs>
</ds:datastoreItem>
</file>

<file path=customXml/itemProps6.xml><?xml version="1.0" encoding="utf-8"?>
<ds:datastoreItem xmlns:ds="http://schemas.openxmlformats.org/officeDocument/2006/customXml" ds:itemID="{1FD5E60B-C52F-4D3F-B518-E9A320BC75BF}">
  <ds:schemaRefs>
    <ds:schemaRef ds:uri="http://schemas.microsoft.com/office/2006/metadata/properties"/>
    <ds:schemaRef ds:uri="http://schemas.microsoft.com/office/infopath/2007/PartnerControls"/>
  </ds:schemaRefs>
</ds:datastoreItem>
</file>

<file path=customXml/itemProps7.xml><?xml version="1.0" encoding="utf-8"?>
<ds:datastoreItem xmlns:ds="http://schemas.openxmlformats.org/officeDocument/2006/customXml" ds:itemID="{7F088FCE-D7A1-41E4-B823-834797807520}">
  <ds:schemaRefs>
    <ds:schemaRef ds:uri="http://schemas.microsoft.com/office/2006/metadata/properties"/>
    <ds:schemaRef ds:uri="http://schemas.microsoft.com/office/infopath/2007/PartnerControls"/>
    <ds:schemaRef ds:uri="1524800f-f219-4acd-9128-b2e1848592a2"/>
    <ds:schemaRef ds:uri="e8fd9900-19b7-4671-8b90-8bf91cdcdf14"/>
  </ds:schemaRefs>
</ds:datastoreItem>
</file>

<file path=customXml/itemProps8.xml><?xml version="1.0" encoding="utf-8"?>
<ds:datastoreItem xmlns:ds="http://schemas.openxmlformats.org/officeDocument/2006/customXml" ds:itemID="{10A7FD7A-0AD6-40A4-A5BD-B86A7EF9411C}">
  <ds:schemaRefs>
    <ds:schemaRef ds:uri="http://schemas.microsoft.com/office/2006/metadata/properties"/>
    <ds:schemaRef ds:uri="http://purl.org/dc/dcmitype/"/>
    <ds:schemaRef ds:uri="http://schemas.microsoft.com/office/2006/documentManagement/types"/>
    <ds:schemaRef ds:uri="http://purl.org/dc/elements/1.1/"/>
    <ds:schemaRef ds:uri="658560ee-bbe4-492f-a924-7825d4a96fe0"/>
    <ds:schemaRef ds:uri="http://schemas.microsoft.com/office/infopath/2007/PartnerControls"/>
    <ds:schemaRef ds:uri="http://schemas.openxmlformats.org/package/2006/metadata/core-properties"/>
    <ds:schemaRef ds:uri="9423244d-1868-459d-984b-fb1b630b7620"/>
    <ds:schemaRef ds:uri="http://www.w3.org/XML/1998/namespace"/>
    <ds:schemaRef ds:uri="http://purl.org/dc/terms/"/>
  </ds:schemaRefs>
</ds:datastoreItem>
</file>

<file path=customXml/itemProps9.xml><?xml version="1.0" encoding="utf-8"?>
<ds:datastoreItem xmlns:ds="http://schemas.openxmlformats.org/officeDocument/2006/customXml" ds:itemID="{9F52C041-CB27-476F-BD0B-F172926EE76A}">
  <ds:schemaRefs>
    <ds:schemaRef ds:uri="http://schemas.microsoft.com/office/2006/metadata/properties"/>
    <ds:schemaRef ds:uri="http://schemas.microsoft.com/office/infopath/2007/PartnerControls"/>
    <ds:schemaRef ds:uri="1524800f-f219-4acd-9128-b2e1848592a2"/>
    <ds:schemaRef ds:uri="e8fd9900-19b7-4671-8b90-8bf91cdcdf14"/>
  </ds:schemaRefs>
</ds:datastoreItem>
</file>

<file path=docMetadata/LabelInfo.xml><?xml version="1.0" encoding="utf-8"?>
<clbl:labelList xmlns:clbl="http://schemas.microsoft.com/office/2020/mipLabelMetadata">
  <clbl:label id="{ee9ddd37-01c2-47a1-893c-5c0bdc1f6d39}" enabled="1" method="Privileged" siteId="{d9662eb9-ad98-4e74-a8a2-04ed5d544db6}" removed="0"/>
</clbl:labelList>
</file>

<file path=docProps/app.xml><?xml version="1.0" encoding="utf-8"?>
<Properties xmlns="http://schemas.openxmlformats.org/officeDocument/2006/extended-properties" xmlns:vt="http://schemas.openxmlformats.org/officeDocument/2006/docPropsVTypes">
  <Template/>
  <TotalTime>0</TotalTime>
  <Words>2922</Words>
  <Application>Microsoft Office PowerPoint</Application>
  <PresentationFormat>On-screen Show (16:9)</PresentationFormat>
  <Paragraphs>374</Paragraphs>
  <Slides>35</Slides>
  <Notes>3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5</vt:i4>
      </vt:variant>
    </vt:vector>
  </HeadingPairs>
  <TitlesOfParts>
    <vt:vector size="40" baseType="lpstr">
      <vt:lpstr>Arial</vt:lpstr>
      <vt:lpstr>Rubik</vt:lpstr>
      <vt:lpstr>Rubik Medium</vt:lpstr>
      <vt:lpstr>Wingdings</vt:lpstr>
      <vt:lpstr>Software AG</vt:lpstr>
      <vt:lpstr>Prime Guide API Gateway Staging Solution Overview</vt:lpstr>
      <vt:lpstr>Version History</vt:lpstr>
      <vt:lpstr>Agenda</vt:lpstr>
      <vt:lpstr>Agenda</vt:lpstr>
      <vt:lpstr>The webMethods API Gateway Staging Solution Offers Enterprise-Level, Production-Ready Management and Deployment of API Management Assets</vt:lpstr>
      <vt:lpstr>All API Management Assets Are Managed in One Place</vt:lpstr>
      <vt:lpstr>Version Control, Single Source of Truth, Branching, Merging etc.</vt:lpstr>
      <vt:lpstr>Individual Build for Each Deployment Unit and for Each Target</vt:lpstr>
      <vt:lpstr>Deploy the Right Assets on the Right Targets</vt:lpstr>
      <vt:lpstr>Additional Features Available for all API Gateway Environments</vt:lpstr>
      <vt:lpstr>Agenda</vt:lpstr>
      <vt:lpstr>Implementation and Configuration Overview</vt:lpstr>
      <vt:lpstr>Azure DevOps Build Pipelines</vt:lpstr>
      <vt:lpstr>Azure DevOps Build Pipeline Parameters</vt:lpstr>
      <vt:lpstr>API Project Deployment Pipelines with Multiple Stages</vt:lpstr>
      <vt:lpstr>Azure DevOps Supports Drill-down to Analyze Deployment Failures</vt:lpstr>
      <vt:lpstr>Major Steps are Defined as Postman Collections</vt:lpstr>
      <vt:lpstr>Grouping of APIs and Corresponding Assets in API Projects</vt:lpstr>
      <vt:lpstr>One Postman export_payload.json File per API Project</vt:lpstr>
      <vt:lpstr>One Postman Collection with API-specific Tests per API Project</vt:lpstr>
      <vt:lpstr>API Gateway Configurations per Stage</vt:lpstr>
      <vt:lpstr>One Postman export_payload.json File per Stage</vt:lpstr>
      <vt:lpstr>Everything Stored in a Git Repository (1/2)</vt:lpstr>
      <vt:lpstr>Everything Stored in a Git Repository (2/2)</vt:lpstr>
      <vt:lpstr>Build Results Can Be Stored in Artifactory</vt:lpstr>
      <vt:lpstr>Mark APIs as Internal or External</vt:lpstr>
      <vt:lpstr>Management of Alias Values Across Stages – All in One Place</vt:lpstr>
      <vt:lpstr>Placeholder Values Can Be Overwritten Using Pipeline Variables</vt:lpstr>
      <vt:lpstr>Agenda</vt:lpstr>
      <vt:lpstr>Three Alternative Options for API Gateway Staging</vt:lpstr>
      <vt:lpstr>Common Requirement: Asset Manipulation During Staging</vt:lpstr>
      <vt:lpstr>Common Requirement: Asset Manipulation During Staging</vt:lpstr>
      <vt:lpstr>Agenda</vt:lpstr>
      <vt:lpstr>API Gateway Staging Solu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I Gateway Staging Solution Overview</dc:title>
  <dc:creator>Grohmann, Susanne</dc:creator>
  <cp:lastModifiedBy>Hesse, Thomas Dr.</cp:lastModifiedBy>
  <cp:revision>14</cp:revision>
  <dcterms:created xsi:type="dcterms:W3CDTF">2020-08-06T12:27:31Z</dcterms:created>
  <dcterms:modified xsi:type="dcterms:W3CDTF">2024-06-06T07: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DD900431D15F4E99A9FDBFF65DDA2E</vt:lpwstr>
  </property>
  <property fmtid="{D5CDD505-2E9C-101B-9397-08002B2CF9AE}" pid="3" name="Capabilities">
    <vt:lpwstr>8;#API Management|ecb5ce6e-c3f8-4cd0-bb4c-f17bcf4a202c;#18;#API, Integration ＆ Microservices|16c2fd86-5118-447b-8ab5-1b64e9fbe4a4</vt:lpwstr>
  </property>
  <property fmtid="{D5CDD505-2E9C-101B-9397-08002B2CF9AE}" pid="4" name="ConfidentialityNew">
    <vt:lpwstr>5;#Internal Use Only|b001c19c-f682-46ac-a956-5c67379ca356</vt:lpwstr>
  </property>
  <property fmtid="{D5CDD505-2E9C-101B-9397-08002B2CF9AE}" pid="5" name="Products">
    <vt:lpwstr/>
  </property>
  <property fmtid="{D5CDD505-2E9C-101B-9397-08002B2CF9AE}" pid="6" name="AssetType">
    <vt:lpwstr>45;#PRIME Asset|8273f19c-1d4c-41d5-82e6-b33a8a66095c</vt:lpwstr>
  </property>
  <property fmtid="{D5CDD505-2E9C-101B-9397-08002B2CF9AE}" pid="7" name="IntranetVisibility">
    <vt:lpwstr/>
  </property>
  <property fmtid="{D5CDD505-2E9C-101B-9397-08002B2CF9AE}" pid="8" name="Confidentiality">
    <vt:lpwstr/>
  </property>
  <property fmtid="{D5CDD505-2E9C-101B-9397-08002B2CF9AE}" pid="9" name="Industries">
    <vt:lpwstr/>
  </property>
  <property fmtid="{D5CDD505-2E9C-101B-9397-08002B2CF9AE}" pid="10" name="InformationCategory">
    <vt:lpwstr/>
  </property>
  <property fmtid="{D5CDD505-2E9C-101B-9397-08002B2CF9AE}" pid="11" name="PRIMEAssetType">
    <vt:lpwstr>75;#PRIME Guide|f7f61ef6-80cc-4b07-ade3-6d068c71cce6</vt:lpwstr>
  </property>
  <property fmtid="{D5CDD505-2E9C-101B-9397-08002B2CF9AE}" pid="12" name="MediaServiceImageTags">
    <vt:lpwstr/>
  </property>
  <property fmtid="{D5CDD505-2E9C-101B-9397-08002B2CF9AE}" pid="13" name="ClassificationContentMarkingHeaderText">
    <vt:lpwstr>Classification : Internal - All Employeesㅤㅤㅤㅤ</vt:lpwstr>
  </property>
</Properties>
</file>